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744" r:id="rId1"/>
    <p:sldMasterId id="2147483788" r:id="rId2"/>
  </p:sldMasterIdLst>
  <p:notesMasterIdLst>
    <p:notesMasterId r:id="rId18"/>
  </p:notesMasterIdLst>
  <p:handoutMasterIdLst>
    <p:handoutMasterId r:id="rId19"/>
  </p:handoutMasterIdLst>
  <p:sldIdLst>
    <p:sldId id="3481" r:id="rId3"/>
    <p:sldId id="374" r:id="rId4"/>
    <p:sldId id="369" r:id="rId5"/>
    <p:sldId id="524" r:id="rId6"/>
    <p:sldId id="536" r:id="rId7"/>
    <p:sldId id="545" r:id="rId8"/>
    <p:sldId id="256" r:id="rId9"/>
    <p:sldId id="263" r:id="rId10"/>
    <p:sldId id="260" r:id="rId11"/>
    <p:sldId id="259" r:id="rId12"/>
    <p:sldId id="258" r:id="rId13"/>
    <p:sldId id="262" r:id="rId14"/>
    <p:sldId id="264" r:id="rId15"/>
    <p:sldId id="3493" r:id="rId16"/>
    <p:sldId id="3494" r:id="rId17"/>
  </p:sldIdLst>
  <p:sldSz cx="12192000" cy="6858000"/>
  <p:notesSz cx="6985000" cy="92837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783" userDrawn="1">
          <p15:clr>
            <a:srgbClr val="A4A3A4"/>
          </p15:clr>
        </p15:guide>
        <p15:guide id="2" orient="horz" pos="2042" userDrawn="1">
          <p15:clr>
            <a:srgbClr val="A4A3A4"/>
          </p15:clr>
        </p15:guide>
        <p15:guide id="3" orient="horz" pos="1931" userDrawn="1">
          <p15:clr>
            <a:srgbClr val="A4A3A4"/>
          </p15:clr>
        </p15:guide>
        <p15:guide id="4" orient="horz" pos="1130" userDrawn="1">
          <p15:clr>
            <a:srgbClr val="A4A3A4"/>
          </p15:clr>
        </p15:guide>
        <p15:guide id="6" orient="horz" pos="339" userDrawn="1">
          <p15:clr>
            <a:srgbClr val="A4A3A4"/>
          </p15:clr>
        </p15:guide>
        <p15:guide id="8" orient="horz" pos="3755" userDrawn="1">
          <p15:clr>
            <a:srgbClr val="A4A3A4"/>
          </p15:clr>
        </p15:guide>
        <p15:guide id="9" pos="3896" userDrawn="1">
          <p15:clr>
            <a:srgbClr val="A4A3A4"/>
          </p15:clr>
        </p15:guide>
        <p15:guide id="10" pos="5673" userDrawn="1">
          <p15:clr>
            <a:srgbClr val="A4A3A4"/>
          </p15:clr>
        </p15:guide>
        <p15:guide id="11" pos="5562" userDrawn="1">
          <p15:clr>
            <a:srgbClr val="A4A3A4"/>
          </p15:clr>
        </p15:guide>
        <p15:guide id="12" pos="7340" userDrawn="1">
          <p15:clr>
            <a:srgbClr val="A4A3A4"/>
          </p15:clr>
        </p15:guide>
        <p15:guide id="13" pos="2118" userDrawn="1">
          <p15:clr>
            <a:srgbClr val="A4A3A4"/>
          </p15:clr>
        </p15:guide>
        <p15:guide id="14" pos="2006" userDrawn="1">
          <p15:clr>
            <a:srgbClr val="A4A3A4"/>
          </p15:clr>
        </p15:guide>
        <p15:guide id="15" pos="339" userDrawn="1">
          <p15:clr>
            <a:srgbClr val="A4A3A4"/>
          </p15:clr>
        </p15:guide>
        <p15:guide id="16" orient="horz" pos="2843" userDrawn="1">
          <p15:clr>
            <a:srgbClr val="A4A3A4"/>
          </p15:clr>
        </p15:guide>
        <p15:guide id="17" orient="horz" pos="2954" userDrawn="1">
          <p15:clr>
            <a:srgbClr val="A4A3A4"/>
          </p15:clr>
        </p15:guide>
        <p15:guide id="18" orient="horz" pos="1019" userDrawn="1">
          <p15:clr>
            <a:srgbClr val="A4A3A4"/>
          </p15:clr>
        </p15:guide>
        <p15:guide id="19" orient="horz" pos="3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1FF11"/>
    <a:srgbClr val="FF3163"/>
    <a:srgbClr val="FF3264"/>
    <a:srgbClr val="990AE3"/>
    <a:srgbClr val="9933FF"/>
    <a:srgbClr val="FFCD64"/>
    <a:srgbClr val="CEFF35"/>
    <a:srgbClr val="E12364"/>
    <a:srgbClr val="00CDCD"/>
    <a:srgbClr val="CC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EA71BE5-54CE-4DFA-B5F8-4BB03818A058}" v="682" dt="2019-03-28T16:53:14.197"/>
  </p1510:revLst>
</p1510:revInfo>
</file>

<file path=ppt/tableStyles.xml><?xml version="1.0" encoding="utf-8"?>
<a:tblStyleLst xmlns:a="http://schemas.openxmlformats.org/drawingml/2006/main" def="{6E25E649-3F16-4E02-A733-19D2CDBF48F0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just format 1 - Dekorfärg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Mellanmörkt format 3 - Dekorfärg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0" autoAdjust="0"/>
    <p:restoredTop sz="76049" autoAdjust="0"/>
  </p:normalViewPr>
  <p:slideViewPr>
    <p:cSldViewPr snapToGrid="0" snapToObjects="1">
      <p:cViewPr varScale="1">
        <p:scale>
          <a:sx n="124" d="100"/>
          <a:sy n="124" d="100"/>
        </p:scale>
        <p:origin x="3948" y="96"/>
      </p:cViewPr>
      <p:guideLst>
        <p:guide pos="3783"/>
        <p:guide orient="horz" pos="2042"/>
        <p:guide orient="horz" pos="1931"/>
        <p:guide orient="horz" pos="1130"/>
        <p:guide orient="horz" pos="339"/>
        <p:guide orient="horz" pos="3755"/>
        <p:guide pos="3896"/>
        <p:guide pos="5673"/>
        <p:guide pos="5562"/>
        <p:guide pos="7340"/>
        <p:guide pos="2118"/>
        <p:guide pos="2006"/>
        <p:guide pos="339"/>
        <p:guide orient="horz" pos="2843"/>
        <p:guide orient="horz" pos="2954"/>
        <p:guide orient="horz" pos="1019"/>
        <p:guide orient="horz" pos="386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5378"/>
    </p:cViewPr>
  </p:sorterViewPr>
  <p:notesViewPr>
    <p:cSldViewPr snapToGrid="0" snapToObjects="1" showGuides="1">
      <p:cViewPr varScale="1">
        <p:scale>
          <a:sx n="56" d="100"/>
          <a:sy n="56" d="100"/>
        </p:scale>
        <p:origin x="3031" y="4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1B4F807D-2187-4B2D-BF2A-4A368FB0C153}" type="datetimeFigureOut">
              <a:rPr lang="en-GB" smtClean="0">
                <a:latin typeface="Arial" panose="020B0604020202020204" pitchFamily="34" charset="0"/>
              </a:rPr>
              <a:t>29/03/2019</a:t>
            </a:fld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777B585E-5ADF-4795-B9E3-79CF9052EC3D}" type="slidenum">
              <a:rPr lang="en-GB" smtClean="0">
                <a:latin typeface="Arial" panose="020B0604020202020204" pitchFamily="34" charset="0"/>
              </a:rPr>
              <a:t>‹#›</a:t>
            </a:fld>
            <a:endParaRPr lang="en-GB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47474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7EC7DE87-EE64-4597-A63C-BD9AB33395FA}" type="datetimeFigureOut">
              <a:rPr lang="en-GB" smtClean="0"/>
              <a:pPr/>
              <a:t>29/03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1160463"/>
            <a:ext cx="5572125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67781"/>
            <a:ext cx="5588000" cy="3655457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F028019-AA91-4C76-BB6B-CB38C01EC32F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1857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480722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1177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7326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sv-SE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78459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b="0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 </a:t>
            </a:r>
          </a:p>
          <a:p>
            <a:pPr lvl="2"/>
            <a:endParaRPr lang="en-US" dirty="0"/>
          </a:p>
          <a:p>
            <a:pPr lvl="2"/>
            <a:r>
              <a:rPr lang="en-US" dirty="0"/>
              <a:t> </a:t>
            </a:r>
            <a:endParaRPr lang="en-US" sz="1800" dirty="0"/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028019-AA91-4C76-BB6B-CB38C01EC32F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81301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2.jp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5467350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3" y="4689476"/>
            <a:ext cx="5467350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 noProof="0"/>
              <a:t>yyyy-mm-dd</a:t>
            </a:r>
            <a:endParaRPr lang="sv-SE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84901" y="1"/>
            <a:ext cx="60071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40528"/>
      </p:ext>
    </p:extLst>
  </p:cSld>
  <p:clrMapOvr>
    <a:masterClrMapping/>
  </p:clrMapOvr>
  <p:transition>
    <p:fade/>
  </p:transition>
  <p:hf sldNum="0"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A4C2468D-5DFD-4CF3-B21A-283FDDD8AE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91999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E5A64CB0-1E52-4C5A-ABE2-4A3D27709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13901" y="6320917"/>
            <a:ext cx="338400" cy="356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290250" indent="0">
              <a:buNone/>
              <a:defRPr/>
            </a:lvl2pPr>
            <a:lvl3pPr marL="587775" indent="0">
              <a:buNone/>
              <a:defRPr/>
            </a:lvl3pPr>
            <a:lvl4pPr marL="864000" indent="0">
              <a:buFont typeface="Arial" panose="020B0604020202020204" pitchFamily="34" charset="0"/>
              <a:buNone/>
              <a:defRPr/>
            </a:lvl4pPr>
            <a:lvl5pPr marL="8640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sv-SE" dirty="0"/>
              <a:t> 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11024184" cy="2698331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6" name="Platshållare för datum 5">
            <a:extLst>
              <a:ext uri="{FF2B5EF4-FFF2-40B4-BE49-F238E27FC236}">
                <a16:creationId xmlns:a16="http://schemas.microsoft.com/office/drawing/2014/main" id="{15EE1C06-674C-4061-A87D-8074B3840E6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yyyy-mm-dd</a:t>
            </a:r>
            <a:endParaRPr lang="sv-SE" dirty="0"/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CAF23480-0340-4A7B-B8B1-555E7ACB0BB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Internal</a:t>
            </a:r>
            <a:endParaRPr lang="sv-SE" dirty="0"/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D16D4F96-0736-48A9-8E9A-B49D20D421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2D7E8A-A0E3-4239-9A38-4F8DCAE2A924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2727373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  <p:hf sldNum="0"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 hasCustomPrompt="1"/>
          </p:nvPr>
        </p:nvSpPr>
        <p:spPr>
          <a:xfrm>
            <a:off x="539999" y="1793875"/>
            <a:ext cx="11112251" cy="4167188"/>
          </a:xfrm>
        </p:spPr>
        <p:txBody>
          <a:bodyPr/>
          <a:lstStyle>
            <a:lvl1pPr>
              <a:tabLst>
                <a:tab pos="896938" algn="l"/>
              </a:tabLst>
              <a:defRPr/>
            </a:lvl1pPr>
            <a:lvl2pPr marL="576000" indent="-284400">
              <a:tabLst>
                <a:tab pos="896938" algn="l"/>
              </a:tabLst>
              <a:defRPr/>
            </a:lvl2pPr>
            <a:lvl3pPr marL="864000" indent="-277200">
              <a:tabLst>
                <a:tab pos="896938" algn="l"/>
              </a:tabLst>
              <a:defRPr/>
            </a:lvl3pPr>
            <a:lvl4pPr marL="864000" indent="-1588">
              <a:tabLst>
                <a:tab pos="896938" algn="l"/>
              </a:tabLst>
              <a:defRPr/>
            </a:lvl4pPr>
            <a:lvl5pPr marL="864000" indent="-1588">
              <a:tabLst>
                <a:tab pos="896938" algn="l"/>
              </a:tabLst>
              <a:defRPr/>
            </a:lvl5pPr>
          </a:lstStyle>
          <a:p>
            <a:pPr lvl="0"/>
            <a:r>
              <a:rPr lang="sv-SE" noProof="0" dirty="0" err="1"/>
              <a:t>Click</a:t>
            </a:r>
            <a:r>
              <a:rPr lang="sv-SE" noProof="0" dirty="0"/>
              <a:t> to </a:t>
            </a:r>
            <a:r>
              <a:rPr lang="sv-SE" noProof="0" dirty="0" err="1"/>
              <a:t>edit</a:t>
            </a:r>
            <a:r>
              <a:rPr lang="sv-SE" noProof="0" dirty="0"/>
              <a:t> Master text </a:t>
            </a:r>
            <a:r>
              <a:rPr lang="sv-SE" noProof="0" dirty="0" err="1"/>
              <a:t>styles</a:t>
            </a:r>
            <a:endParaRPr lang="sv-SE" noProof="0" dirty="0"/>
          </a:p>
          <a:p>
            <a:pPr lvl="1"/>
            <a:r>
              <a:rPr lang="sv-SE" noProof="0" dirty="0"/>
              <a:t>Second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2"/>
            <a:r>
              <a:rPr lang="sv-SE" noProof="0" dirty="0" err="1"/>
              <a:t>Third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3"/>
            <a:r>
              <a:rPr lang="sv-SE" noProof="0" dirty="0" err="1"/>
              <a:t>Fourth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  <a:p>
            <a:pPr lvl="4"/>
            <a:r>
              <a:rPr lang="sv-SE" noProof="0" dirty="0" err="1"/>
              <a:t>Fifth</a:t>
            </a:r>
            <a:r>
              <a:rPr lang="sv-SE" noProof="0" dirty="0"/>
              <a:t> </a:t>
            </a:r>
            <a:r>
              <a:rPr lang="sv-SE" noProof="0" dirty="0" err="1"/>
              <a:t>level</a:t>
            </a:r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1277867901"/>
      </p:ext>
    </p:extLst>
  </p:cSld>
  <p:clrMapOvr>
    <a:masterClrMapping/>
  </p:clrMapOvr>
  <p:transition>
    <p:fade/>
  </p:transition>
  <p:hf sldNum="0"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538164" y="1793876"/>
            <a:ext cx="5467350" cy="41671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184900" y="1793876"/>
            <a:ext cx="5467350" cy="41671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95493885"/>
      </p:ext>
    </p:extLst>
  </p:cSld>
  <p:clrMapOvr>
    <a:masterClrMapping/>
  </p:clrMapOvr>
  <p:transition>
    <p:fade/>
  </p:transition>
  <p:hf sldNum="0"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/>
          </p:nvPr>
        </p:nvSpPr>
        <p:spPr>
          <a:xfrm>
            <a:off x="541602" y="1793876"/>
            <a:ext cx="3583549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/>
          </p:nvPr>
        </p:nvSpPr>
        <p:spPr>
          <a:xfrm>
            <a:off x="4305151" y="1793876"/>
            <a:ext cx="3583137" cy="4167187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/>
          </p:nvPr>
        </p:nvSpPr>
        <p:spPr>
          <a:xfrm>
            <a:off x="8068700" y="1793876"/>
            <a:ext cx="3583550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90772360"/>
      </p:ext>
    </p:extLst>
  </p:cSld>
  <p:clrMapOvr>
    <a:masterClrMapping/>
  </p:clrMapOvr>
  <p:transition>
    <p:fade/>
  </p:transition>
  <p:hf sldNum="0"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</a:t>
            </a:r>
            <a:r>
              <a:rPr lang="en-US" dirty="0" err="1"/>
              <a:t>TO</a:t>
            </a:r>
            <a:r>
              <a:rPr lang="en-US" dirty="0"/>
              <a:t> Add tit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540000" y="1793875"/>
            <a:ext cx="2644526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368202" y="1793875"/>
            <a:ext cx="2643188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/>
          </p:nvPr>
        </p:nvSpPr>
        <p:spPr>
          <a:xfrm>
            <a:off x="6175849" y="1793876"/>
            <a:ext cx="2646363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/>
          </p:nvPr>
        </p:nvSpPr>
        <p:spPr>
          <a:xfrm>
            <a:off x="9005888" y="1793876"/>
            <a:ext cx="2646362" cy="4167187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200"/>
              </a:spcBef>
              <a:defRPr sz="1200"/>
            </a:lvl2pPr>
            <a:lvl3pPr>
              <a:spcBef>
                <a:spcPts val="200"/>
              </a:spcBef>
              <a:defRPr sz="1200"/>
            </a:lvl3pPr>
            <a:lvl4pPr>
              <a:spcBef>
                <a:spcPts val="200"/>
              </a:spcBef>
              <a:defRPr sz="1200"/>
            </a:lvl4pPr>
            <a:lvl5pPr>
              <a:spcBef>
                <a:spcPts val="200"/>
              </a:spcBef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2637795"/>
      </p:ext>
    </p:extLst>
  </p:cSld>
  <p:clrMapOvr>
    <a:masterClrMapping/>
  </p:clrMapOvr>
  <p:transition>
    <p:fade/>
  </p:transition>
  <p:hf sldNum="0"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040617" y="6421919"/>
            <a:ext cx="3964896" cy="153888"/>
          </a:xfrm>
        </p:spPr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184900" y="0"/>
            <a:ext cx="60071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540000" y="1793876"/>
            <a:ext cx="5465514" cy="41671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40000" y="538163"/>
            <a:ext cx="5465514" cy="1079500"/>
          </a:xfrm>
        </p:spPr>
        <p:txBody>
          <a:bodyPr/>
          <a:lstStyle/>
          <a:p>
            <a:r>
              <a:rPr lang="en-US" dirty="0"/>
              <a:t>CLICK TO Add 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68090069"/>
      </p:ext>
    </p:extLst>
  </p:cSld>
  <p:clrMapOvr>
    <a:masterClrMapping/>
  </p:clrMapOvr>
  <p:transition>
    <p:fade/>
  </p:transition>
  <p:hf sldNum="0"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Content with Pebble for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040617" y="6421919"/>
            <a:ext cx="3964896" cy="153888"/>
          </a:xfrm>
        </p:spPr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6509685" y="750463"/>
            <a:ext cx="5171562" cy="5433768"/>
          </a:xfrm>
          <a:custGeom>
            <a:avLst/>
            <a:gdLst>
              <a:gd name="connsiteX0" fmla="*/ 0 w 6007100"/>
              <a:gd name="connsiteY0" fmla="*/ 6858000 h 6858000"/>
              <a:gd name="connsiteX1" fmla="*/ 3003550 w 6007100"/>
              <a:gd name="connsiteY1" fmla="*/ 0 h 6858000"/>
              <a:gd name="connsiteX2" fmla="*/ 6007100 w 6007100"/>
              <a:gd name="connsiteY2" fmla="*/ 6858000 h 6858000"/>
              <a:gd name="connsiteX3" fmla="*/ 0 w 6007100"/>
              <a:gd name="connsiteY3" fmla="*/ 6858000 h 6858000"/>
              <a:gd name="connsiteX0" fmla="*/ 0 w 5706310"/>
              <a:gd name="connsiteY0" fmla="*/ 3140243 h 6858000"/>
              <a:gd name="connsiteX1" fmla="*/ 2702760 w 5706310"/>
              <a:gd name="connsiteY1" fmla="*/ 0 h 6858000"/>
              <a:gd name="connsiteX2" fmla="*/ 5706310 w 5706310"/>
              <a:gd name="connsiteY2" fmla="*/ 6858000 h 6858000"/>
              <a:gd name="connsiteX3" fmla="*/ 0 w 5706310"/>
              <a:gd name="connsiteY3" fmla="*/ 3140243 h 6858000"/>
              <a:gd name="connsiteX0" fmla="*/ 0 w 2702760"/>
              <a:gd name="connsiteY0" fmla="*/ 3140243 h 6196264"/>
              <a:gd name="connsiteX1" fmla="*/ 2702760 w 2702760"/>
              <a:gd name="connsiteY1" fmla="*/ 0 h 6196264"/>
              <a:gd name="connsiteX2" fmla="*/ 2542005 w 2702760"/>
              <a:gd name="connsiteY2" fmla="*/ 6196264 h 6196264"/>
              <a:gd name="connsiteX3" fmla="*/ 0 w 2702760"/>
              <a:gd name="connsiteY3" fmla="*/ 3140243 h 6196264"/>
              <a:gd name="connsiteX0" fmla="*/ 0 w 4820318"/>
              <a:gd name="connsiteY0" fmla="*/ 1997243 h 5053264"/>
              <a:gd name="connsiteX1" fmla="*/ 4820318 w 4820318"/>
              <a:gd name="connsiteY1" fmla="*/ 0 h 5053264"/>
              <a:gd name="connsiteX2" fmla="*/ 2542005 w 4820318"/>
              <a:gd name="connsiteY2" fmla="*/ 5053264 h 5053264"/>
              <a:gd name="connsiteX3" fmla="*/ 0 w 4820318"/>
              <a:gd name="connsiteY3" fmla="*/ 1997243 h 5053264"/>
              <a:gd name="connsiteX0" fmla="*/ 0 w 4932784"/>
              <a:gd name="connsiteY0" fmla="*/ 1997243 h 5053264"/>
              <a:gd name="connsiteX1" fmla="*/ 4820318 w 4932784"/>
              <a:gd name="connsiteY1" fmla="*/ 0 h 5053264"/>
              <a:gd name="connsiteX2" fmla="*/ 2542005 w 4932784"/>
              <a:gd name="connsiteY2" fmla="*/ 5053264 h 5053264"/>
              <a:gd name="connsiteX3" fmla="*/ 0 w 4932784"/>
              <a:gd name="connsiteY3" fmla="*/ 1997243 h 5053264"/>
              <a:gd name="connsiteX0" fmla="*/ 0 w 4967362"/>
              <a:gd name="connsiteY0" fmla="*/ 1997243 h 5053264"/>
              <a:gd name="connsiteX1" fmla="*/ 4856412 w 4967362"/>
              <a:gd name="connsiteY1" fmla="*/ 0 h 5053264"/>
              <a:gd name="connsiteX2" fmla="*/ 2542005 w 4967362"/>
              <a:gd name="connsiteY2" fmla="*/ 5053264 h 5053264"/>
              <a:gd name="connsiteX3" fmla="*/ 0 w 4967362"/>
              <a:gd name="connsiteY3" fmla="*/ 1997243 h 5053264"/>
              <a:gd name="connsiteX0" fmla="*/ 0 w 4967362"/>
              <a:gd name="connsiteY0" fmla="*/ 2066896 h 5122917"/>
              <a:gd name="connsiteX1" fmla="*/ 4856412 w 4967362"/>
              <a:gd name="connsiteY1" fmla="*/ 69653 h 5122917"/>
              <a:gd name="connsiteX2" fmla="*/ 2542005 w 4967362"/>
              <a:gd name="connsiteY2" fmla="*/ 5122917 h 5122917"/>
              <a:gd name="connsiteX3" fmla="*/ 0 w 4967362"/>
              <a:gd name="connsiteY3" fmla="*/ 2066896 h 5122917"/>
              <a:gd name="connsiteX0" fmla="*/ 0 w 5040348"/>
              <a:gd name="connsiteY0" fmla="*/ 2066896 h 5122917"/>
              <a:gd name="connsiteX1" fmla="*/ 4856412 w 5040348"/>
              <a:gd name="connsiteY1" fmla="*/ 69653 h 5122917"/>
              <a:gd name="connsiteX2" fmla="*/ 2542005 w 5040348"/>
              <a:gd name="connsiteY2" fmla="*/ 5122917 h 5122917"/>
              <a:gd name="connsiteX3" fmla="*/ 0 w 5040348"/>
              <a:gd name="connsiteY3" fmla="*/ 2066896 h 5122917"/>
              <a:gd name="connsiteX0" fmla="*/ 0 w 5213468"/>
              <a:gd name="connsiteY0" fmla="*/ 2066896 h 5122917"/>
              <a:gd name="connsiteX1" fmla="*/ 4856412 w 5213468"/>
              <a:gd name="connsiteY1" fmla="*/ 69653 h 5122917"/>
              <a:gd name="connsiteX2" fmla="*/ 2542005 w 5213468"/>
              <a:gd name="connsiteY2" fmla="*/ 5122917 h 5122917"/>
              <a:gd name="connsiteX3" fmla="*/ 0 w 5213468"/>
              <a:gd name="connsiteY3" fmla="*/ 2066896 h 5122917"/>
              <a:gd name="connsiteX0" fmla="*/ 0 w 5229023"/>
              <a:gd name="connsiteY0" fmla="*/ 2066896 h 5122917"/>
              <a:gd name="connsiteX1" fmla="*/ 4856412 w 5229023"/>
              <a:gd name="connsiteY1" fmla="*/ 69653 h 5122917"/>
              <a:gd name="connsiteX2" fmla="*/ 2542005 w 5229023"/>
              <a:gd name="connsiteY2" fmla="*/ 5122917 h 5122917"/>
              <a:gd name="connsiteX3" fmla="*/ 0 w 5229023"/>
              <a:gd name="connsiteY3" fmla="*/ 2066896 h 5122917"/>
              <a:gd name="connsiteX0" fmla="*/ 0 w 5229023"/>
              <a:gd name="connsiteY0" fmla="*/ 2066896 h 5122917"/>
              <a:gd name="connsiteX1" fmla="*/ 4856412 w 5229023"/>
              <a:gd name="connsiteY1" fmla="*/ 69653 h 5122917"/>
              <a:gd name="connsiteX2" fmla="*/ 2542005 w 5229023"/>
              <a:gd name="connsiteY2" fmla="*/ 5122917 h 5122917"/>
              <a:gd name="connsiteX3" fmla="*/ 0 w 5229023"/>
              <a:gd name="connsiteY3" fmla="*/ 2066896 h 5122917"/>
              <a:gd name="connsiteX0" fmla="*/ 0 w 5229023"/>
              <a:gd name="connsiteY0" fmla="*/ 2066896 h 5122917"/>
              <a:gd name="connsiteX1" fmla="*/ 4856412 w 5229023"/>
              <a:gd name="connsiteY1" fmla="*/ 69653 h 5122917"/>
              <a:gd name="connsiteX2" fmla="*/ 2542005 w 5229023"/>
              <a:gd name="connsiteY2" fmla="*/ 5122917 h 5122917"/>
              <a:gd name="connsiteX3" fmla="*/ 0 w 5229023"/>
              <a:gd name="connsiteY3" fmla="*/ 2066896 h 5122917"/>
              <a:gd name="connsiteX0" fmla="*/ 0 w 5229023"/>
              <a:gd name="connsiteY0" fmla="*/ 2066896 h 5122917"/>
              <a:gd name="connsiteX1" fmla="*/ 4856412 w 5229023"/>
              <a:gd name="connsiteY1" fmla="*/ 69653 h 5122917"/>
              <a:gd name="connsiteX2" fmla="*/ 2542005 w 5229023"/>
              <a:gd name="connsiteY2" fmla="*/ 5122917 h 5122917"/>
              <a:gd name="connsiteX3" fmla="*/ 0 w 5229023"/>
              <a:gd name="connsiteY3" fmla="*/ 2066896 h 5122917"/>
              <a:gd name="connsiteX0" fmla="*/ 5 w 5229028"/>
              <a:gd name="connsiteY0" fmla="*/ 2109843 h 5165864"/>
              <a:gd name="connsiteX1" fmla="*/ 4856417 w 5229028"/>
              <a:gd name="connsiteY1" fmla="*/ 112600 h 5165864"/>
              <a:gd name="connsiteX2" fmla="*/ 2542010 w 5229028"/>
              <a:gd name="connsiteY2" fmla="*/ 5165864 h 5165864"/>
              <a:gd name="connsiteX3" fmla="*/ 5 w 5229028"/>
              <a:gd name="connsiteY3" fmla="*/ 2109843 h 5165864"/>
              <a:gd name="connsiteX0" fmla="*/ 6 w 5229029"/>
              <a:gd name="connsiteY0" fmla="*/ 2373889 h 5429910"/>
              <a:gd name="connsiteX1" fmla="*/ 4856418 w 5229029"/>
              <a:gd name="connsiteY1" fmla="*/ 376646 h 5429910"/>
              <a:gd name="connsiteX2" fmla="*/ 2542011 w 5229029"/>
              <a:gd name="connsiteY2" fmla="*/ 5429910 h 5429910"/>
              <a:gd name="connsiteX3" fmla="*/ 6 w 5229029"/>
              <a:gd name="connsiteY3" fmla="*/ 2373889 h 5429910"/>
              <a:gd name="connsiteX0" fmla="*/ 6 w 5229029"/>
              <a:gd name="connsiteY0" fmla="*/ 2370842 h 5426863"/>
              <a:gd name="connsiteX1" fmla="*/ 4856418 w 5229029"/>
              <a:gd name="connsiteY1" fmla="*/ 373599 h 5426863"/>
              <a:gd name="connsiteX2" fmla="*/ 2542011 w 5229029"/>
              <a:gd name="connsiteY2" fmla="*/ 5426863 h 5426863"/>
              <a:gd name="connsiteX3" fmla="*/ 6 w 5229029"/>
              <a:gd name="connsiteY3" fmla="*/ 2370842 h 5426863"/>
              <a:gd name="connsiteX0" fmla="*/ 6 w 5229029"/>
              <a:gd name="connsiteY0" fmla="*/ 2380764 h 5436785"/>
              <a:gd name="connsiteX1" fmla="*/ 4856418 w 5229029"/>
              <a:gd name="connsiteY1" fmla="*/ 383521 h 5436785"/>
              <a:gd name="connsiteX2" fmla="*/ 2542011 w 5229029"/>
              <a:gd name="connsiteY2" fmla="*/ 5436785 h 5436785"/>
              <a:gd name="connsiteX3" fmla="*/ 6 w 5229029"/>
              <a:gd name="connsiteY3" fmla="*/ 2380764 h 5436785"/>
              <a:gd name="connsiteX0" fmla="*/ 6 w 5213985"/>
              <a:gd name="connsiteY0" fmla="*/ 2380764 h 5436785"/>
              <a:gd name="connsiteX1" fmla="*/ 4856418 w 5213985"/>
              <a:gd name="connsiteY1" fmla="*/ 383521 h 5436785"/>
              <a:gd name="connsiteX2" fmla="*/ 2542011 w 5213985"/>
              <a:gd name="connsiteY2" fmla="*/ 5436785 h 5436785"/>
              <a:gd name="connsiteX3" fmla="*/ 6 w 5213985"/>
              <a:gd name="connsiteY3" fmla="*/ 2380764 h 5436785"/>
              <a:gd name="connsiteX0" fmla="*/ 6 w 5213985"/>
              <a:gd name="connsiteY0" fmla="*/ 2376222 h 5432243"/>
              <a:gd name="connsiteX1" fmla="*/ 4856418 w 5213985"/>
              <a:gd name="connsiteY1" fmla="*/ 378979 h 5432243"/>
              <a:gd name="connsiteX2" fmla="*/ 2542011 w 5213985"/>
              <a:gd name="connsiteY2" fmla="*/ 5432243 h 5432243"/>
              <a:gd name="connsiteX3" fmla="*/ 6 w 5213985"/>
              <a:gd name="connsiteY3" fmla="*/ 2376222 h 5432243"/>
              <a:gd name="connsiteX0" fmla="*/ 7 w 5189923"/>
              <a:gd name="connsiteY0" fmla="*/ 2397007 h 5428965"/>
              <a:gd name="connsiteX1" fmla="*/ 4832356 w 5189923"/>
              <a:gd name="connsiteY1" fmla="*/ 375701 h 5428965"/>
              <a:gd name="connsiteX2" fmla="*/ 2517949 w 5189923"/>
              <a:gd name="connsiteY2" fmla="*/ 5428965 h 5428965"/>
              <a:gd name="connsiteX3" fmla="*/ 7 w 5189923"/>
              <a:gd name="connsiteY3" fmla="*/ 2397007 h 5428965"/>
              <a:gd name="connsiteX0" fmla="*/ 66 w 5189982"/>
              <a:gd name="connsiteY0" fmla="*/ 2413842 h 5445800"/>
              <a:gd name="connsiteX1" fmla="*/ 4832415 w 5189982"/>
              <a:gd name="connsiteY1" fmla="*/ 392536 h 5445800"/>
              <a:gd name="connsiteX2" fmla="*/ 2518008 w 5189982"/>
              <a:gd name="connsiteY2" fmla="*/ 5445800 h 5445800"/>
              <a:gd name="connsiteX3" fmla="*/ 66 w 5189982"/>
              <a:gd name="connsiteY3" fmla="*/ 2413842 h 5445800"/>
              <a:gd name="connsiteX0" fmla="*/ 66 w 5186507"/>
              <a:gd name="connsiteY0" fmla="*/ 2413842 h 5433768"/>
              <a:gd name="connsiteX1" fmla="*/ 4832415 w 5186507"/>
              <a:gd name="connsiteY1" fmla="*/ 392536 h 5433768"/>
              <a:gd name="connsiteX2" fmla="*/ 2493945 w 5186507"/>
              <a:gd name="connsiteY2" fmla="*/ 5433768 h 5433768"/>
              <a:gd name="connsiteX3" fmla="*/ 66 w 5186507"/>
              <a:gd name="connsiteY3" fmla="*/ 2413842 h 5433768"/>
              <a:gd name="connsiteX0" fmla="*/ 66 w 5171562"/>
              <a:gd name="connsiteY0" fmla="*/ 2413842 h 5433768"/>
              <a:gd name="connsiteX1" fmla="*/ 4832415 w 5171562"/>
              <a:gd name="connsiteY1" fmla="*/ 392536 h 5433768"/>
              <a:gd name="connsiteX2" fmla="*/ 2493945 w 5171562"/>
              <a:gd name="connsiteY2" fmla="*/ 5433768 h 5433768"/>
              <a:gd name="connsiteX3" fmla="*/ 66 w 5171562"/>
              <a:gd name="connsiteY3" fmla="*/ 2413842 h 5433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1562" h="5433768">
                <a:moveTo>
                  <a:pt x="66" y="2413842"/>
                </a:moveTo>
                <a:cubicBezTo>
                  <a:pt x="-17425" y="797600"/>
                  <a:pt x="3418147" y="-746454"/>
                  <a:pt x="4832415" y="392536"/>
                </a:cubicBezTo>
                <a:cubicBezTo>
                  <a:pt x="5817555" y="1246778"/>
                  <a:pt x="4540762" y="5373610"/>
                  <a:pt x="2493945" y="5433768"/>
                </a:cubicBezTo>
                <a:cubicBezTo>
                  <a:pt x="1538325" y="5389652"/>
                  <a:pt x="17222" y="3745337"/>
                  <a:pt x="66" y="2413842"/>
                </a:cubicBezTo>
                <a:close/>
              </a:path>
            </a:pathLst>
          </a:cu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 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540000" y="1793876"/>
            <a:ext cx="5465514" cy="41671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40000" y="538163"/>
            <a:ext cx="5465514" cy="1079500"/>
          </a:xfrm>
        </p:spPr>
        <p:txBody>
          <a:bodyPr/>
          <a:lstStyle/>
          <a:p>
            <a:r>
              <a:rPr lang="en-US" dirty="0"/>
              <a:t>CLICK TO Add 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03377588"/>
      </p:ext>
    </p:extLst>
  </p:cSld>
  <p:clrMapOvr>
    <a:masterClrMapping/>
  </p:clrMapOvr>
  <p:transition>
    <p:fade/>
  </p:transition>
  <p:hf sldNum="0"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>
            <a:lvl1pPr>
              <a:defRPr sz="3000"/>
            </a:lvl1pPr>
            <a:lvl2pPr>
              <a:defRPr sz="3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30916128"/>
      </p:ext>
    </p:extLst>
  </p:cSld>
  <p:clrMapOvr>
    <a:masterClrMapping/>
  </p:clrMapOvr>
  <p:transition>
    <p:fade/>
  </p:transition>
  <p:hf sldNum="0"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6548113"/>
      </p:ext>
    </p:extLst>
  </p:cSld>
  <p:clrMapOvr>
    <a:masterClrMapping/>
  </p:clrMapOvr>
  <p:transition>
    <p:fade/>
  </p:transition>
  <p:hf sldNum="0"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9493626"/>
      </p:ext>
    </p:extLst>
  </p:cSld>
  <p:clrMapOvr>
    <a:masterClrMapping/>
  </p:clrMapOvr>
  <p:transition>
    <p:fade/>
  </p:transition>
  <p:hf sldNum="0"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ebb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FB02770-B61F-4105-9A13-947EA1824D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793" y="-110511"/>
            <a:ext cx="12192000" cy="6858000"/>
          </a:xfrm>
          <a:prstGeom prst="rect">
            <a:avLst/>
          </a:prstGeom>
        </p:spPr>
      </p:pic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 noProof="0"/>
              <a:t>yyyy-mm-dd</a:t>
            </a:r>
            <a:endParaRPr lang="sv-SE" noProof="0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6184901" y="1"/>
            <a:ext cx="60071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26C7E0D3-5531-4AF9-9F8E-8583EE48D52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40000" y="1793876"/>
            <a:ext cx="5465514" cy="41671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2AF1DDA-4738-4449-9F8A-D635C44F63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0000" y="538163"/>
            <a:ext cx="5465514" cy="1079500"/>
          </a:xfrm>
        </p:spPr>
        <p:txBody>
          <a:bodyPr/>
          <a:lstStyle/>
          <a:p>
            <a:r>
              <a:rPr lang="en-US" dirty="0"/>
              <a:t>CLICK TO Add tit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66948136"/>
      </p:ext>
    </p:extLst>
  </p:cSld>
  <p:clrMapOvr>
    <a:masterClrMapping/>
  </p:clrMapOvr>
  <p:transition>
    <p:fade/>
  </p:transition>
  <p:hf sldNum="0"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1F83BD50-D085-4748-8A61-4A87F37046A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Placeholder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" r="226"/>
          <a:stretch>
            <a:fillRect/>
          </a:stretch>
        </p:blipFill>
        <p:spPr>
          <a:xfrm>
            <a:off x="2749799" y="2431150"/>
            <a:ext cx="6692651" cy="198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056558"/>
      </p:ext>
    </p:extLst>
  </p:cSld>
  <p:clrMapOvr>
    <a:masterClrMapping/>
  </p:clrMapOvr>
  <p:transition>
    <p:fade/>
  </p:transition>
  <p:hf sldNum="0"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Holding Slide Anima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21299803">
            <a:off x="8605410" y="3601699"/>
            <a:ext cx="6905228" cy="780291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 rot="16942694">
            <a:off x="627796" y="4403898"/>
            <a:ext cx="2062691" cy="192069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4185332">
            <a:off x="333721" y="-1124294"/>
            <a:ext cx="3652704" cy="3801255"/>
          </a:xfrm>
          <a:prstGeom prst="rect">
            <a:avLst/>
          </a:prstGeom>
        </p:spPr>
      </p:pic>
      <p:pic>
        <p:nvPicPr>
          <p:cNvPr id="6" name="Picture Placeholder 7">
            <a:extLst>
              <a:ext uri="{FF2B5EF4-FFF2-40B4-BE49-F238E27FC236}">
                <a16:creationId xmlns:a16="http://schemas.microsoft.com/office/drawing/2014/main" id="{659B59C1-73E7-49FB-B9E8-990D9E6BBA3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" r="226"/>
          <a:stretch>
            <a:fillRect/>
          </a:stretch>
        </p:blipFill>
        <p:spPr>
          <a:xfrm>
            <a:off x="2749799" y="2431150"/>
            <a:ext cx="6692651" cy="198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66947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path" presetSubtype="0" repeatCount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29167E-6 -1.48148E-6 C -0.00299 -1.48148E-6 -0.00586 0.00116 -0.00586 0.00324 C -0.00586 0.00509 -0.00299 0.00671 -2.29167E-6 0.00671 C 0.00326 0.00671 0.00586 0.00509 0.00586 0.00324 C 0.00586 0.00116 0.00326 -1.48148E-6 -2.29167E-6 -1.48148E-6 Z " pathEditMode="relative" rAng="0" ptsTypes="AAAAA">
                                      <p:cBhvr>
                                        <p:cTn id="9" dur="6000" spd="-100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24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8" presetClass="emph" presetSubtype="0" repeatCount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600000">
                                      <p:cBhvr>
                                        <p:cTn id="11" dur="6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" presetClass="path" presetSubtype="0" repeatCount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-4.44444E-6 C 0.00144 -4.44444E-6 0.00274 0.00186 0.00274 0.0044 C 0.00274 0.00695 0.00144 0.00903 -3.33333E-6 0.00903 C -0.00143 0.00903 -0.00247 0.00695 -0.00247 0.0044 C -0.00247 0.00186 -0.00143 -4.44444E-6 -3.33333E-6 -4.44444E-6 Z " pathEditMode="relative" rAng="0" ptsTypes="AAAAA">
                                      <p:cBhvr>
                                        <p:cTn id="16" dur="5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3" y="44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8" presetClass="emph" presetSubtype="0" repeatCount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420000">
                                      <p:cBhvr>
                                        <p:cTn id="18" dur="5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" presetClass="path" presetSubtype="0" repeatCount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9167E-6 4.07407E-6 C -0.003 4.07407E-6 -0.00586 0.00277 -0.00586 0.00833 C -0.00586 0.01296 -0.003 0.01736 2.29167E-6 0.01736 C 0.00325 0.01736 0.00586 0.01296 0.00586 0.00833 C 0.00586 0.00277 0.00325 4.07407E-6 2.29167E-6 4.07407E-6 Z " pathEditMode="relative" rAng="0" ptsTypes="AAAAA">
                                      <p:cBhvr>
                                        <p:cTn id="23" dur="6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856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8" presetClass="emph" presetSubtype="0" repeatCount="10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600000">
                                      <p:cBhvr>
                                        <p:cTn id="25" dur="6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sldNum="0"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5467350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MASTER TITLE</a:t>
            </a:r>
            <a:endParaRPr lang="en-GB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3" y="4689476"/>
            <a:ext cx="5467350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fld id="{23C35E15-1156-4417-AD97-A9A083FE4357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84901" y="1"/>
            <a:ext cx="60071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7392124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Meta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 userDrawn="1"/>
        </p:nvSpPr>
        <p:spPr>
          <a:xfrm>
            <a:off x="3363912" y="4513263"/>
            <a:ext cx="524182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Identifier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363912" y="4680493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dentifier 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363912" y="4904290"/>
            <a:ext cx="468077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Version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3363912" y="5285792"/>
            <a:ext cx="50334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Status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3363912" y="5453022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Status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3363912" y="5676819"/>
            <a:ext cx="50334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Relation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363912" y="5844047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lation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538163" y="4517983"/>
            <a:ext cx="89287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Document type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538164" y="4685213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ocument typ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538163" y="4909010"/>
            <a:ext cx="490519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Creato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538163" y="5290512"/>
            <a:ext cx="750205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prstClr val="white">
                    <a:lumMod val="50000"/>
                  </a:prstClr>
                </a:solidFill>
              </a:rPr>
              <a:t>Approved by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38164" y="5457742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Name and telephon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363912" y="5071519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Version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38164" y="5076239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Name and telephon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5467350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MASTER TITLE</a:t>
            </a:r>
            <a:endParaRPr lang="en-GB" dirty="0"/>
          </a:p>
        </p:txBody>
      </p:sp>
      <p:sp>
        <p:nvSpPr>
          <p:cNvPr id="35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fld id="{A0F3240D-B612-4379-BF3B-54464CBF0EB8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84901" y="1"/>
            <a:ext cx="60071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7362081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8291512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MASTER TIT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3" y="4689476"/>
            <a:ext cx="5467350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fld id="{E3487FE6-8C60-49FA-BA43-EC77C1426715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sv-SE" dirty="0">
              <a:solidFill>
                <a:prstClr val="black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53746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31D0D-E4FB-4B6F-A6F5-E2D3556CF47D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1713501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538162" y="538163"/>
            <a:ext cx="8291513" cy="3975100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2" y="4689476"/>
            <a:ext cx="8291513" cy="1271588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7E2997D-A941-4E3B-83A2-07B2B73C07F1}" type="datetime1">
              <a:rPr lang="sv-SE" smtClean="0">
                <a:solidFill>
                  <a:prstClr val="white"/>
                </a:solidFill>
              </a:rPr>
              <a:pPr/>
              <a:t>2019-03-29</a:t>
            </a:fld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Confidentiality class    Relation    Identifier    Version    Status</a:t>
            </a:r>
            <a:endParaRPr lang="sv-SE" dirty="0">
              <a:solidFill>
                <a:prstClr val="white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2D7E8A-A0E3-4239-9A38-4F8DCAE2A924}" type="slidenum">
              <a:rPr lang="sv-SE" smtClean="0">
                <a:solidFill>
                  <a:prstClr val="white"/>
                </a:solidFill>
              </a:rPr>
              <a:pPr/>
              <a:t>‹#›</a:t>
            </a:fld>
            <a:endParaRPr lang="sv-S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777236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8732469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3235328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458078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ebble for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-1587" y="1"/>
            <a:ext cx="5640832" cy="6858000"/>
          </a:xfrm>
          <a:custGeom>
            <a:avLst/>
            <a:gdLst>
              <a:gd name="connsiteX0" fmla="*/ 0 w 6007100"/>
              <a:gd name="connsiteY0" fmla="*/ 0 h 6858000"/>
              <a:gd name="connsiteX1" fmla="*/ 5005897 w 6007100"/>
              <a:gd name="connsiteY1" fmla="*/ 0 h 6858000"/>
              <a:gd name="connsiteX2" fmla="*/ 6007100 w 6007100"/>
              <a:gd name="connsiteY2" fmla="*/ 1001203 h 6858000"/>
              <a:gd name="connsiteX3" fmla="*/ 6007100 w 6007100"/>
              <a:gd name="connsiteY3" fmla="*/ 6858000 h 6858000"/>
              <a:gd name="connsiteX4" fmla="*/ 0 w 6007100"/>
              <a:gd name="connsiteY4" fmla="*/ 6858000 h 6858000"/>
              <a:gd name="connsiteX5" fmla="*/ 0 w 6007100"/>
              <a:gd name="connsiteY5" fmla="*/ 0 h 6858000"/>
              <a:gd name="connsiteX0" fmla="*/ 0 w 6007100"/>
              <a:gd name="connsiteY0" fmla="*/ 0 h 6858000"/>
              <a:gd name="connsiteX1" fmla="*/ 5005897 w 6007100"/>
              <a:gd name="connsiteY1" fmla="*/ 0 h 6858000"/>
              <a:gd name="connsiteX2" fmla="*/ 6007100 w 6007100"/>
              <a:gd name="connsiteY2" fmla="*/ 1001203 h 6858000"/>
              <a:gd name="connsiteX3" fmla="*/ 3660943 w 6007100"/>
              <a:gd name="connsiteY3" fmla="*/ 6858000 h 6858000"/>
              <a:gd name="connsiteX4" fmla="*/ 0 w 6007100"/>
              <a:gd name="connsiteY4" fmla="*/ 6858000 h 6858000"/>
              <a:gd name="connsiteX5" fmla="*/ 0 w 6007100"/>
              <a:gd name="connsiteY5" fmla="*/ 0 h 6858000"/>
              <a:gd name="connsiteX0" fmla="*/ 0 w 5634122"/>
              <a:gd name="connsiteY0" fmla="*/ 0 h 6858000"/>
              <a:gd name="connsiteX1" fmla="*/ 5005897 w 5634122"/>
              <a:gd name="connsiteY1" fmla="*/ 0 h 6858000"/>
              <a:gd name="connsiteX2" fmla="*/ 5634122 w 5634122"/>
              <a:gd name="connsiteY2" fmla="*/ 2059982 h 6858000"/>
              <a:gd name="connsiteX3" fmla="*/ 3660943 w 5634122"/>
              <a:gd name="connsiteY3" fmla="*/ 6858000 h 6858000"/>
              <a:gd name="connsiteX4" fmla="*/ 0 w 5634122"/>
              <a:gd name="connsiteY4" fmla="*/ 6858000 h 6858000"/>
              <a:gd name="connsiteX5" fmla="*/ 0 w 5634122"/>
              <a:gd name="connsiteY5" fmla="*/ 0 h 6858000"/>
              <a:gd name="connsiteX0" fmla="*/ 0 w 5637382"/>
              <a:gd name="connsiteY0" fmla="*/ 0 h 6858000"/>
              <a:gd name="connsiteX1" fmla="*/ 5005897 w 5637382"/>
              <a:gd name="connsiteY1" fmla="*/ 0 h 6858000"/>
              <a:gd name="connsiteX2" fmla="*/ 5634122 w 5637382"/>
              <a:gd name="connsiteY2" fmla="*/ 2059982 h 6858000"/>
              <a:gd name="connsiteX3" fmla="*/ 3660943 w 5637382"/>
              <a:gd name="connsiteY3" fmla="*/ 6858000 h 6858000"/>
              <a:gd name="connsiteX4" fmla="*/ 0 w 5637382"/>
              <a:gd name="connsiteY4" fmla="*/ 6858000 h 6858000"/>
              <a:gd name="connsiteX5" fmla="*/ 0 w 5637382"/>
              <a:gd name="connsiteY5" fmla="*/ 0 h 6858000"/>
              <a:gd name="connsiteX0" fmla="*/ 0 w 5635255"/>
              <a:gd name="connsiteY0" fmla="*/ 0 h 6858000"/>
              <a:gd name="connsiteX1" fmla="*/ 5005897 w 5635255"/>
              <a:gd name="connsiteY1" fmla="*/ 0 h 6858000"/>
              <a:gd name="connsiteX2" fmla="*/ 5634122 w 5635255"/>
              <a:gd name="connsiteY2" fmla="*/ 2059982 h 6858000"/>
              <a:gd name="connsiteX3" fmla="*/ 3660943 w 5635255"/>
              <a:gd name="connsiteY3" fmla="*/ 6858000 h 6858000"/>
              <a:gd name="connsiteX4" fmla="*/ 0 w 5635255"/>
              <a:gd name="connsiteY4" fmla="*/ 6858000 h 6858000"/>
              <a:gd name="connsiteX5" fmla="*/ 0 w 5635255"/>
              <a:gd name="connsiteY5" fmla="*/ 0 h 6858000"/>
              <a:gd name="connsiteX0" fmla="*/ 0 w 5636536"/>
              <a:gd name="connsiteY0" fmla="*/ 0 h 6858000"/>
              <a:gd name="connsiteX1" fmla="*/ 5005897 w 5636536"/>
              <a:gd name="connsiteY1" fmla="*/ 0 h 6858000"/>
              <a:gd name="connsiteX2" fmla="*/ 5634122 w 5636536"/>
              <a:gd name="connsiteY2" fmla="*/ 2059982 h 6858000"/>
              <a:gd name="connsiteX3" fmla="*/ 3660943 w 5636536"/>
              <a:gd name="connsiteY3" fmla="*/ 6858000 h 6858000"/>
              <a:gd name="connsiteX4" fmla="*/ 0 w 5636536"/>
              <a:gd name="connsiteY4" fmla="*/ 6858000 h 6858000"/>
              <a:gd name="connsiteX5" fmla="*/ 0 w 5636536"/>
              <a:gd name="connsiteY5" fmla="*/ 0 h 6858000"/>
              <a:gd name="connsiteX0" fmla="*/ 0 w 5636536"/>
              <a:gd name="connsiteY0" fmla="*/ 0 h 6858000"/>
              <a:gd name="connsiteX1" fmla="*/ 5005897 w 5636536"/>
              <a:gd name="connsiteY1" fmla="*/ 0 h 6858000"/>
              <a:gd name="connsiteX2" fmla="*/ 5634122 w 5636536"/>
              <a:gd name="connsiteY2" fmla="*/ 2059982 h 6858000"/>
              <a:gd name="connsiteX3" fmla="*/ 3660943 w 5636536"/>
              <a:gd name="connsiteY3" fmla="*/ 6858000 h 6858000"/>
              <a:gd name="connsiteX4" fmla="*/ 0 w 5636536"/>
              <a:gd name="connsiteY4" fmla="*/ 6858000 h 6858000"/>
              <a:gd name="connsiteX5" fmla="*/ 0 w 5636536"/>
              <a:gd name="connsiteY5" fmla="*/ 0 h 6858000"/>
              <a:gd name="connsiteX0" fmla="*/ 0 w 5636536"/>
              <a:gd name="connsiteY0" fmla="*/ 0 h 6858000"/>
              <a:gd name="connsiteX1" fmla="*/ 5005897 w 5636536"/>
              <a:gd name="connsiteY1" fmla="*/ 0 h 6858000"/>
              <a:gd name="connsiteX2" fmla="*/ 5634122 w 5636536"/>
              <a:gd name="connsiteY2" fmla="*/ 2059982 h 6858000"/>
              <a:gd name="connsiteX3" fmla="*/ 3660943 w 5636536"/>
              <a:gd name="connsiteY3" fmla="*/ 6858000 h 6858000"/>
              <a:gd name="connsiteX4" fmla="*/ 0 w 5636536"/>
              <a:gd name="connsiteY4" fmla="*/ 6858000 h 6858000"/>
              <a:gd name="connsiteX5" fmla="*/ 0 w 5636536"/>
              <a:gd name="connsiteY5" fmla="*/ 0 h 6858000"/>
              <a:gd name="connsiteX0" fmla="*/ 0 w 5636536"/>
              <a:gd name="connsiteY0" fmla="*/ 0 h 6858000"/>
              <a:gd name="connsiteX1" fmla="*/ 5005897 w 5636536"/>
              <a:gd name="connsiteY1" fmla="*/ 0 h 6858000"/>
              <a:gd name="connsiteX2" fmla="*/ 5634122 w 5636536"/>
              <a:gd name="connsiteY2" fmla="*/ 2059982 h 6858000"/>
              <a:gd name="connsiteX3" fmla="*/ 3660943 w 5636536"/>
              <a:gd name="connsiteY3" fmla="*/ 6858000 h 6858000"/>
              <a:gd name="connsiteX4" fmla="*/ 0 w 5636536"/>
              <a:gd name="connsiteY4" fmla="*/ 6858000 h 6858000"/>
              <a:gd name="connsiteX5" fmla="*/ 0 w 5636536"/>
              <a:gd name="connsiteY5" fmla="*/ 0 h 6858000"/>
              <a:gd name="connsiteX0" fmla="*/ 0 w 5634122"/>
              <a:gd name="connsiteY0" fmla="*/ 0 h 6858000"/>
              <a:gd name="connsiteX1" fmla="*/ 5005897 w 5634122"/>
              <a:gd name="connsiteY1" fmla="*/ 0 h 6858000"/>
              <a:gd name="connsiteX2" fmla="*/ 5634122 w 5634122"/>
              <a:gd name="connsiteY2" fmla="*/ 2059982 h 6858000"/>
              <a:gd name="connsiteX3" fmla="*/ 3660943 w 5634122"/>
              <a:gd name="connsiteY3" fmla="*/ 6858000 h 6858000"/>
              <a:gd name="connsiteX4" fmla="*/ 0 w 5634122"/>
              <a:gd name="connsiteY4" fmla="*/ 6858000 h 6858000"/>
              <a:gd name="connsiteX5" fmla="*/ 0 w 563412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0832" h="6858000">
                <a:moveTo>
                  <a:pt x="0" y="0"/>
                </a:moveTo>
                <a:lnTo>
                  <a:pt x="5005897" y="0"/>
                </a:lnTo>
                <a:cubicBezTo>
                  <a:pt x="5751351" y="697832"/>
                  <a:pt x="5634121" y="1831885"/>
                  <a:pt x="5634122" y="2059982"/>
                </a:cubicBezTo>
                <a:cubicBezTo>
                  <a:pt x="5626101" y="2251626"/>
                  <a:pt x="5293226" y="5246629"/>
                  <a:pt x="3660943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58617" y="1689684"/>
            <a:ext cx="5087951" cy="2999791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58617" y="4731001"/>
            <a:ext cx="5087951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7971108"/>
      </p:ext>
    </p:extLst>
  </p:cSld>
  <p:clrMapOvr>
    <a:masterClrMapping/>
  </p:clrMapOvr>
  <p:transition>
    <p:fade/>
  </p:transition>
  <p:hf sldNum="0"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 bwMode="invGray">
          <a:xfrm>
            <a:off x="-1057" y="1"/>
            <a:ext cx="12193057" cy="6858000"/>
            <a:chOff x="-1057" y="1"/>
            <a:chExt cx="12193057" cy="6858000"/>
          </a:xfrm>
        </p:grpSpPr>
        <p:sp>
          <p:nvSpPr>
            <p:cNvPr id="25" name="Freeform 24"/>
            <p:cNvSpPr>
              <a:spLocks/>
            </p:cNvSpPr>
            <p:nvPr userDrawn="1"/>
          </p:nvSpPr>
          <p:spPr bwMode="invGray">
            <a:xfrm>
              <a:off x="-1057" y="1"/>
              <a:ext cx="8691601" cy="3871890"/>
            </a:xfrm>
            <a:custGeom>
              <a:avLst/>
              <a:gdLst>
                <a:gd name="connsiteX0" fmla="*/ 4206316 w 8691601"/>
                <a:gd name="connsiteY0" fmla="*/ 0 h 3871890"/>
                <a:gd name="connsiteX1" fmla="*/ 5697461 w 8691601"/>
                <a:gd name="connsiteY1" fmla="*/ 0 h 3871890"/>
                <a:gd name="connsiteX2" fmla="*/ 5876669 w 8691601"/>
                <a:gd name="connsiteY2" fmla="*/ 0 h 3871890"/>
                <a:gd name="connsiteX3" fmla="*/ 5814491 w 8691601"/>
                <a:gd name="connsiteY3" fmla="*/ 33052 h 3871890"/>
                <a:gd name="connsiteX4" fmla="*/ 5876679 w 8691601"/>
                <a:gd name="connsiteY4" fmla="*/ 0 h 3871890"/>
                <a:gd name="connsiteX5" fmla="*/ 8527609 w 8691601"/>
                <a:gd name="connsiteY5" fmla="*/ 0 h 3871890"/>
                <a:gd name="connsiteX6" fmla="*/ 8691601 w 8691601"/>
                <a:gd name="connsiteY6" fmla="*/ 0 h 3871890"/>
                <a:gd name="connsiteX7" fmla="*/ 5144630 w 8691601"/>
                <a:gd name="connsiteY7" fmla="*/ 2017103 h 3871890"/>
                <a:gd name="connsiteX8" fmla="*/ 0 w 8691601"/>
                <a:gd name="connsiteY8" fmla="*/ 3871890 h 3871890"/>
                <a:gd name="connsiteX9" fmla="*/ 0 w 8691601"/>
                <a:gd name="connsiteY9" fmla="*/ 3778897 h 3871890"/>
                <a:gd name="connsiteX10" fmla="*/ 0 w 8691601"/>
                <a:gd name="connsiteY10" fmla="*/ 2506118 h 3871890"/>
                <a:gd name="connsiteX11" fmla="*/ 0 w 8691601"/>
                <a:gd name="connsiteY11" fmla="*/ 2379288 h 3871890"/>
                <a:gd name="connsiteX12" fmla="*/ 0 w 8691601"/>
                <a:gd name="connsiteY12" fmla="*/ 2378930 h 3871890"/>
                <a:gd name="connsiteX13" fmla="*/ 0 w 8691601"/>
                <a:gd name="connsiteY13" fmla="*/ 2377888 h 3871890"/>
                <a:gd name="connsiteX14" fmla="*/ 0 w 8691601"/>
                <a:gd name="connsiteY14" fmla="*/ 2289663 h 3871890"/>
                <a:gd name="connsiteX15" fmla="*/ 0 w 8691601"/>
                <a:gd name="connsiteY15" fmla="*/ 1582810 h 3871890"/>
                <a:gd name="connsiteX16" fmla="*/ 3846209 w 8691601"/>
                <a:gd name="connsiteY16" fmla="*/ 174177 h 3871890"/>
                <a:gd name="connsiteX17" fmla="*/ 4206316 w 8691601"/>
                <a:gd name="connsiteY17" fmla="*/ 0 h 3871890"/>
                <a:gd name="connsiteX18" fmla="*/ 0 w 8691601"/>
                <a:gd name="connsiteY18" fmla="*/ 0 h 3871890"/>
                <a:gd name="connsiteX19" fmla="*/ 4008300 w 8691601"/>
                <a:gd name="connsiteY19" fmla="*/ 0 h 3871890"/>
                <a:gd name="connsiteX20" fmla="*/ 4206095 w 8691601"/>
                <a:gd name="connsiteY20" fmla="*/ 0 h 3871890"/>
                <a:gd name="connsiteX21" fmla="*/ 3846008 w 8691601"/>
                <a:gd name="connsiteY21" fmla="*/ 174167 h 3871890"/>
                <a:gd name="connsiteX22" fmla="*/ 0 w 8691601"/>
                <a:gd name="connsiteY22" fmla="*/ 1582720 h 3871890"/>
                <a:gd name="connsiteX23" fmla="*/ 0 w 8691601"/>
                <a:gd name="connsiteY23" fmla="*/ 1494791 h 3871890"/>
                <a:gd name="connsiteX24" fmla="*/ 0 w 8691601"/>
                <a:gd name="connsiteY24" fmla="*/ 0 h 387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8691601" h="3871890">
                  <a:moveTo>
                    <a:pt x="4206316" y="0"/>
                  </a:moveTo>
                  <a:cubicBezTo>
                    <a:pt x="4206316" y="0"/>
                    <a:pt x="4206316" y="0"/>
                    <a:pt x="5697461" y="0"/>
                  </a:cubicBezTo>
                  <a:lnTo>
                    <a:pt x="5876669" y="0"/>
                  </a:lnTo>
                  <a:lnTo>
                    <a:pt x="5814491" y="33052"/>
                  </a:lnTo>
                  <a:lnTo>
                    <a:pt x="5876679" y="0"/>
                  </a:lnTo>
                  <a:cubicBezTo>
                    <a:pt x="5876679" y="0"/>
                    <a:pt x="5876679" y="0"/>
                    <a:pt x="8527609" y="0"/>
                  </a:cubicBezTo>
                  <a:lnTo>
                    <a:pt x="8691601" y="0"/>
                  </a:lnTo>
                  <a:cubicBezTo>
                    <a:pt x="7673834" y="705056"/>
                    <a:pt x="6463332" y="1399967"/>
                    <a:pt x="5144630" y="2017103"/>
                  </a:cubicBezTo>
                  <a:cubicBezTo>
                    <a:pt x="3220677" y="2919980"/>
                    <a:pt x="1460717" y="3550642"/>
                    <a:pt x="0" y="3871890"/>
                  </a:cubicBezTo>
                  <a:cubicBezTo>
                    <a:pt x="0" y="3871890"/>
                    <a:pt x="0" y="3871890"/>
                    <a:pt x="0" y="3778897"/>
                  </a:cubicBezTo>
                  <a:cubicBezTo>
                    <a:pt x="0" y="3778897"/>
                    <a:pt x="0" y="3778897"/>
                    <a:pt x="0" y="2506118"/>
                  </a:cubicBezTo>
                  <a:lnTo>
                    <a:pt x="0" y="2379288"/>
                  </a:lnTo>
                  <a:lnTo>
                    <a:pt x="0" y="2378930"/>
                  </a:lnTo>
                  <a:lnTo>
                    <a:pt x="0" y="2377888"/>
                  </a:lnTo>
                  <a:cubicBezTo>
                    <a:pt x="0" y="2373687"/>
                    <a:pt x="0" y="2356882"/>
                    <a:pt x="0" y="2289663"/>
                  </a:cubicBezTo>
                  <a:cubicBezTo>
                    <a:pt x="0" y="2289663"/>
                    <a:pt x="0" y="2289663"/>
                    <a:pt x="0" y="1582810"/>
                  </a:cubicBezTo>
                  <a:cubicBezTo>
                    <a:pt x="1107370" y="1325772"/>
                    <a:pt x="2434524" y="842136"/>
                    <a:pt x="3846209" y="174177"/>
                  </a:cubicBezTo>
                  <a:cubicBezTo>
                    <a:pt x="3967935" y="116682"/>
                    <a:pt x="4087971" y="59186"/>
                    <a:pt x="4206316" y="0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4008300" y="0"/>
                  </a:cubicBezTo>
                  <a:lnTo>
                    <a:pt x="4206095" y="0"/>
                  </a:lnTo>
                  <a:cubicBezTo>
                    <a:pt x="4087756" y="59183"/>
                    <a:pt x="3967727" y="116675"/>
                    <a:pt x="3846008" y="174167"/>
                  </a:cubicBezTo>
                  <a:cubicBezTo>
                    <a:pt x="2434396" y="842088"/>
                    <a:pt x="1107312" y="1325697"/>
                    <a:pt x="0" y="1582720"/>
                  </a:cubicBezTo>
                  <a:cubicBezTo>
                    <a:pt x="0" y="1582720"/>
                    <a:pt x="0" y="1582720"/>
                    <a:pt x="0" y="1494791"/>
                  </a:cubicBezTo>
                  <a:cubicBezTo>
                    <a:pt x="0" y="1494791"/>
                    <a:pt x="0" y="1494791"/>
                    <a:pt x="0" y="0"/>
                  </a:cubicBezTo>
                  <a:close/>
                </a:path>
              </a:pathLst>
            </a:custGeom>
            <a:solidFill>
              <a:srgbClr val="FF32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grpSp>
          <p:nvGrpSpPr>
            <p:cNvPr id="26" name="Group 25"/>
            <p:cNvGrpSpPr/>
            <p:nvPr userDrawn="1"/>
          </p:nvGrpSpPr>
          <p:grpSpPr bwMode="invGray">
            <a:xfrm>
              <a:off x="-1057" y="1"/>
              <a:ext cx="12193057" cy="6858000"/>
              <a:chOff x="19354800" y="-13931900"/>
              <a:chExt cx="42743438" cy="24041101"/>
            </a:xfrm>
          </p:grpSpPr>
          <p:sp>
            <p:nvSpPr>
              <p:cNvPr id="27" name="Freeform 31"/>
              <p:cNvSpPr>
                <a:spLocks/>
              </p:cNvSpPr>
              <p:nvPr userDrawn="1"/>
            </p:nvSpPr>
            <p:spPr bwMode="invGray">
              <a:xfrm>
                <a:off x="53789263" y="3417888"/>
                <a:ext cx="8308975" cy="6691313"/>
              </a:xfrm>
              <a:custGeom>
                <a:avLst/>
                <a:gdLst>
                  <a:gd name="T0" fmla="*/ 0 w 1402"/>
                  <a:gd name="T1" fmla="*/ 1129 h 1129"/>
                  <a:gd name="T2" fmla="*/ 1402 w 1402"/>
                  <a:gd name="T3" fmla="*/ 1129 h 1129"/>
                  <a:gd name="T4" fmla="*/ 1402 w 1402"/>
                  <a:gd name="T5" fmla="*/ 0 h 1129"/>
                  <a:gd name="T6" fmla="*/ 0 w 1402"/>
                  <a:gd name="T7" fmla="*/ 1129 h 11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02" h="1129">
                    <a:moveTo>
                      <a:pt x="0" y="1129"/>
                    </a:moveTo>
                    <a:cubicBezTo>
                      <a:pt x="1402" y="1129"/>
                      <a:pt x="1402" y="1129"/>
                      <a:pt x="1402" y="1129"/>
                    </a:cubicBezTo>
                    <a:cubicBezTo>
                      <a:pt x="1402" y="0"/>
                      <a:pt x="1402" y="0"/>
                      <a:pt x="1402" y="0"/>
                    </a:cubicBezTo>
                    <a:cubicBezTo>
                      <a:pt x="1011" y="387"/>
                      <a:pt x="540" y="767"/>
                      <a:pt x="0" y="1129"/>
                    </a:cubicBezTo>
                    <a:close/>
                  </a:path>
                </a:pathLst>
              </a:custGeom>
              <a:solidFill>
                <a:srgbClr val="CEFF3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8" name="Freeform 32"/>
              <p:cNvSpPr>
                <a:spLocks/>
              </p:cNvSpPr>
              <p:nvPr userDrawn="1"/>
            </p:nvSpPr>
            <p:spPr bwMode="invGray">
              <a:xfrm>
                <a:off x="37982525" y="-5076825"/>
                <a:ext cx="24115713" cy="15186025"/>
              </a:xfrm>
              <a:custGeom>
                <a:avLst/>
                <a:gdLst>
                  <a:gd name="T0" fmla="*/ 1741 w 4069"/>
                  <a:gd name="T1" fmla="*/ 1684 h 2562"/>
                  <a:gd name="T2" fmla="*/ 0 w 4069"/>
                  <a:gd name="T3" fmla="*/ 2562 h 2562"/>
                  <a:gd name="T4" fmla="*/ 2573 w 4069"/>
                  <a:gd name="T5" fmla="*/ 2562 h 2562"/>
                  <a:gd name="T6" fmla="*/ 2667 w 4069"/>
                  <a:gd name="T7" fmla="*/ 2562 h 2562"/>
                  <a:gd name="T8" fmla="*/ 4069 w 4069"/>
                  <a:gd name="T9" fmla="*/ 1433 h 2562"/>
                  <a:gd name="T10" fmla="*/ 4069 w 4069"/>
                  <a:gd name="T11" fmla="*/ 1362 h 2562"/>
                  <a:gd name="T12" fmla="*/ 4069 w 4069"/>
                  <a:gd name="T13" fmla="*/ 0 h 2562"/>
                  <a:gd name="T14" fmla="*/ 1741 w 4069"/>
                  <a:gd name="T15" fmla="*/ 1684 h 25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069" h="2562">
                    <a:moveTo>
                      <a:pt x="1741" y="1684"/>
                    </a:moveTo>
                    <a:cubicBezTo>
                      <a:pt x="1151" y="2023"/>
                      <a:pt x="566" y="2317"/>
                      <a:pt x="0" y="2562"/>
                    </a:cubicBezTo>
                    <a:cubicBezTo>
                      <a:pt x="2573" y="2562"/>
                      <a:pt x="2573" y="2562"/>
                      <a:pt x="2573" y="2562"/>
                    </a:cubicBezTo>
                    <a:cubicBezTo>
                      <a:pt x="2667" y="2562"/>
                      <a:pt x="2667" y="2562"/>
                      <a:pt x="2667" y="2562"/>
                    </a:cubicBezTo>
                    <a:cubicBezTo>
                      <a:pt x="3207" y="2200"/>
                      <a:pt x="3678" y="1820"/>
                      <a:pt x="4069" y="1433"/>
                    </a:cubicBezTo>
                    <a:cubicBezTo>
                      <a:pt x="4069" y="1362"/>
                      <a:pt x="4069" y="1362"/>
                      <a:pt x="4069" y="1362"/>
                    </a:cubicBezTo>
                    <a:cubicBezTo>
                      <a:pt x="4069" y="0"/>
                      <a:pt x="4069" y="0"/>
                      <a:pt x="4069" y="0"/>
                    </a:cubicBezTo>
                    <a:cubicBezTo>
                      <a:pt x="3487" y="562"/>
                      <a:pt x="2705" y="1130"/>
                      <a:pt x="1741" y="1684"/>
                    </a:cubicBezTo>
                    <a:close/>
                  </a:path>
                </a:pathLst>
              </a:custGeom>
              <a:solidFill>
                <a:srgbClr val="990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29" name="Freeform 33"/>
              <p:cNvSpPr>
                <a:spLocks/>
              </p:cNvSpPr>
              <p:nvPr userDrawn="1"/>
            </p:nvSpPr>
            <p:spPr bwMode="invGray">
              <a:xfrm>
                <a:off x="31610300" y="-7500938"/>
                <a:ext cx="30487938" cy="17610138"/>
              </a:xfrm>
              <a:custGeom>
                <a:avLst/>
                <a:gdLst>
                  <a:gd name="T0" fmla="*/ 2574 w 5144"/>
                  <a:gd name="T1" fmla="*/ 1825 h 2971"/>
                  <a:gd name="T2" fmla="*/ 0 w 5144"/>
                  <a:gd name="T3" fmla="*/ 2971 h 2971"/>
                  <a:gd name="T4" fmla="*/ 945 w 5144"/>
                  <a:gd name="T5" fmla="*/ 2971 h 2971"/>
                  <a:gd name="T6" fmla="*/ 1075 w 5144"/>
                  <a:gd name="T7" fmla="*/ 2971 h 2971"/>
                  <a:gd name="T8" fmla="*/ 2816 w 5144"/>
                  <a:gd name="T9" fmla="*/ 2093 h 2971"/>
                  <a:gd name="T10" fmla="*/ 5144 w 5144"/>
                  <a:gd name="T11" fmla="*/ 409 h 2971"/>
                  <a:gd name="T12" fmla="*/ 5144 w 5144"/>
                  <a:gd name="T13" fmla="*/ 340 h 2971"/>
                  <a:gd name="T14" fmla="*/ 5144 w 5144"/>
                  <a:gd name="T15" fmla="*/ 0 h 2971"/>
                  <a:gd name="T16" fmla="*/ 2574 w 5144"/>
                  <a:gd name="T17" fmla="*/ 1825 h 2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144" h="2971">
                    <a:moveTo>
                      <a:pt x="2574" y="1825"/>
                    </a:moveTo>
                    <a:cubicBezTo>
                      <a:pt x="1667" y="2308"/>
                      <a:pt x="799" y="2694"/>
                      <a:pt x="0" y="2971"/>
                    </a:cubicBezTo>
                    <a:cubicBezTo>
                      <a:pt x="945" y="2971"/>
                      <a:pt x="945" y="2971"/>
                      <a:pt x="945" y="2971"/>
                    </a:cubicBezTo>
                    <a:cubicBezTo>
                      <a:pt x="1075" y="2971"/>
                      <a:pt x="1075" y="2971"/>
                      <a:pt x="1075" y="2971"/>
                    </a:cubicBezTo>
                    <a:cubicBezTo>
                      <a:pt x="1641" y="2726"/>
                      <a:pt x="2226" y="2432"/>
                      <a:pt x="2816" y="2093"/>
                    </a:cubicBezTo>
                    <a:cubicBezTo>
                      <a:pt x="3780" y="1539"/>
                      <a:pt x="4562" y="971"/>
                      <a:pt x="5144" y="409"/>
                    </a:cubicBezTo>
                    <a:cubicBezTo>
                      <a:pt x="5144" y="340"/>
                      <a:pt x="5144" y="340"/>
                      <a:pt x="5144" y="340"/>
                    </a:cubicBezTo>
                    <a:cubicBezTo>
                      <a:pt x="5144" y="0"/>
                      <a:pt x="5144" y="0"/>
                      <a:pt x="5144" y="0"/>
                    </a:cubicBezTo>
                    <a:cubicBezTo>
                      <a:pt x="4517" y="627"/>
                      <a:pt x="3642" y="1256"/>
                      <a:pt x="2574" y="1825"/>
                    </a:cubicBezTo>
                    <a:close/>
                  </a:path>
                </a:pathLst>
              </a:custGeom>
              <a:solidFill>
                <a:srgbClr val="993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5" name="Freeform 34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42743438" cy="24041101"/>
              </a:xfrm>
              <a:custGeom>
                <a:avLst/>
                <a:gdLst>
                  <a:gd name="T0" fmla="*/ 5141 w 7212"/>
                  <a:gd name="T1" fmla="*/ 0 h 4056"/>
                  <a:gd name="T2" fmla="*/ 3043 w 7212"/>
                  <a:gd name="T3" fmla="*/ 1193 h 4056"/>
                  <a:gd name="T4" fmla="*/ 0 w 7212"/>
                  <a:gd name="T5" fmla="*/ 2290 h 4056"/>
                  <a:gd name="T6" fmla="*/ 0 w 7212"/>
                  <a:gd name="T7" fmla="*/ 4056 h 4056"/>
                  <a:gd name="T8" fmla="*/ 1910 w 7212"/>
                  <a:gd name="T9" fmla="*/ 4056 h 4056"/>
                  <a:gd name="T10" fmla="*/ 2068 w 7212"/>
                  <a:gd name="T11" fmla="*/ 4056 h 4056"/>
                  <a:gd name="T12" fmla="*/ 4642 w 7212"/>
                  <a:gd name="T13" fmla="*/ 2910 h 4056"/>
                  <a:gd name="T14" fmla="*/ 7212 w 7212"/>
                  <a:gd name="T15" fmla="*/ 1085 h 4056"/>
                  <a:gd name="T16" fmla="*/ 7212 w 7212"/>
                  <a:gd name="T17" fmla="*/ 1015 h 4056"/>
                  <a:gd name="T18" fmla="*/ 7212 w 7212"/>
                  <a:gd name="T19" fmla="*/ 0 h 4056"/>
                  <a:gd name="T20" fmla="*/ 5141 w 7212"/>
                  <a:gd name="T21" fmla="*/ 0 h 4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212" h="4056">
                    <a:moveTo>
                      <a:pt x="5141" y="0"/>
                    </a:moveTo>
                    <a:cubicBezTo>
                      <a:pt x="4539" y="417"/>
                      <a:pt x="3823" y="828"/>
                      <a:pt x="3043" y="1193"/>
                    </a:cubicBezTo>
                    <a:cubicBezTo>
                      <a:pt x="1905" y="1727"/>
                      <a:pt x="864" y="2100"/>
                      <a:pt x="0" y="2290"/>
                    </a:cubicBezTo>
                    <a:cubicBezTo>
                      <a:pt x="0" y="4056"/>
                      <a:pt x="0" y="4056"/>
                      <a:pt x="0" y="4056"/>
                    </a:cubicBezTo>
                    <a:cubicBezTo>
                      <a:pt x="1910" y="4056"/>
                      <a:pt x="1910" y="4056"/>
                      <a:pt x="1910" y="4056"/>
                    </a:cubicBezTo>
                    <a:cubicBezTo>
                      <a:pt x="2068" y="4056"/>
                      <a:pt x="2068" y="4056"/>
                      <a:pt x="2068" y="4056"/>
                    </a:cubicBezTo>
                    <a:cubicBezTo>
                      <a:pt x="2867" y="3779"/>
                      <a:pt x="3735" y="3393"/>
                      <a:pt x="4642" y="2910"/>
                    </a:cubicBezTo>
                    <a:cubicBezTo>
                      <a:pt x="5710" y="2341"/>
                      <a:pt x="6585" y="1712"/>
                      <a:pt x="7212" y="1085"/>
                    </a:cubicBezTo>
                    <a:cubicBezTo>
                      <a:pt x="7212" y="1015"/>
                      <a:pt x="7212" y="1015"/>
                      <a:pt x="7212" y="1015"/>
                    </a:cubicBezTo>
                    <a:cubicBezTo>
                      <a:pt x="7212" y="0"/>
                      <a:pt x="7212" y="0"/>
                      <a:pt x="7212" y="0"/>
                    </a:cubicBezTo>
                    <a:lnTo>
                      <a:pt x="5141" y="0"/>
                    </a:lnTo>
                    <a:close/>
                  </a:path>
                </a:pathLst>
              </a:custGeom>
              <a:solidFill>
                <a:srgbClr val="990A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8" name="Freeform 36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20600988" cy="8340725"/>
              </a:xfrm>
              <a:custGeom>
                <a:avLst/>
                <a:gdLst>
                  <a:gd name="T0" fmla="*/ 3370 w 3476"/>
                  <a:gd name="T1" fmla="*/ 0 h 1407"/>
                  <a:gd name="T2" fmla="*/ 2488 w 3476"/>
                  <a:gd name="T3" fmla="*/ 0 h 1407"/>
                  <a:gd name="T4" fmla="*/ 2275 w 3476"/>
                  <a:gd name="T5" fmla="*/ 103 h 1407"/>
                  <a:gd name="T6" fmla="*/ 0 w 3476"/>
                  <a:gd name="T7" fmla="*/ 936 h 1407"/>
                  <a:gd name="T8" fmla="*/ 0 w 3476"/>
                  <a:gd name="T9" fmla="*/ 1354 h 1407"/>
                  <a:gd name="T10" fmla="*/ 0 w 3476"/>
                  <a:gd name="T11" fmla="*/ 1407 h 1407"/>
                  <a:gd name="T12" fmla="*/ 2593 w 3476"/>
                  <a:gd name="T13" fmla="*/ 451 h 1407"/>
                  <a:gd name="T14" fmla="*/ 3476 w 3476"/>
                  <a:gd name="T15" fmla="*/ 0 h 1407"/>
                  <a:gd name="T16" fmla="*/ 3370 w 3476"/>
                  <a:gd name="T17" fmla="*/ 0 h 14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76" h="1407">
                    <a:moveTo>
                      <a:pt x="3370" y="0"/>
                    </a:moveTo>
                    <a:cubicBezTo>
                      <a:pt x="2488" y="0"/>
                      <a:pt x="2488" y="0"/>
                      <a:pt x="2488" y="0"/>
                    </a:cubicBezTo>
                    <a:cubicBezTo>
                      <a:pt x="2418" y="35"/>
                      <a:pt x="2347" y="69"/>
                      <a:pt x="2275" y="103"/>
                    </a:cubicBezTo>
                    <a:cubicBezTo>
                      <a:pt x="1440" y="498"/>
                      <a:pt x="655" y="784"/>
                      <a:pt x="0" y="936"/>
                    </a:cubicBezTo>
                    <a:cubicBezTo>
                      <a:pt x="0" y="1354"/>
                      <a:pt x="0" y="1354"/>
                      <a:pt x="0" y="1354"/>
                    </a:cubicBezTo>
                    <a:cubicBezTo>
                      <a:pt x="0" y="1407"/>
                      <a:pt x="0" y="1407"/>
                      <a:pt x="0" y="1407"/>
                    </a:cubicBezTo>
                    <a:cubicBezTo>
                      <a:pt x="732" y="1235"/>
                      <a:pt x="1618" y="910"/>
                      <a:pt x="2593" y="451"/>
                    </a:cubicBezTo>
                    <a:cubicBezTo>
                      <a:pt x="2900" y="306"/>
                      <a:pt x="3196" y="155"/>
                      <a:pt x="3476" y="0"/>
                    </a:cubicBezTo>
                    <a:lnTo>
                      <a:pt x="3370" y="0"/>
                    </a:lnTo>
                    <a:close/>
                  </a:path>
                </a:pathLst>
              </a:custGeom>
              <a:solidFill>
                <a:srgbClr val="E123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39" name="Freeform 37"/>
              <p:cNvSpPr>
                <a:spLocks/>
              </p:cNvSpPr>
              <p:nvPr userDrawn="1"/>
            </p:nvSpPr>
            <p:spPr bwMode="invGray">
              <a:xfrm>
                <a:off x="19354800" y="-13931900"/>
                <a:ext cx="14744700" cy="5548313"/>
              </a:xfrm>
              <a:custGeom>
                <a:avLst/>
                <a:gdLst>
                  <a:gd name="T0" fmla="*/ 2371 w 2488"/>
                  <a:gd name="T1" fmla="*/ 0 h 936"/>
                  <a:gd name="T2" fmla="*/ 0 w 2488"/>
                  <a:gd name="T3" fmla="*/ 0 h 936"/>
                  <a:gd name="T4" fmla="*/ 0 w 2488"/>
                  <a:gd name="T5" fmla="*/ 884 h 936"/>
                  <a:gd name="T6" fmla="*/ 0 w 2488"/>
                  <a:gd name="T7" fmla="*/ 936 h 936"/>
                  <a:gd name="T8" fmla="*/ 2275 w 2488"/>
                  <a:gd name="T9" fmla="*/ 103 h 936"/>
                  <a:gd name="T10" fmla="*/ 2488 w 2488"/>
                  <a:gd name="T11" fmla="*/ 0 h 936"/>
                  <a:gd name="T12" fmla="*/ 2371 w 2488"/>
                  <a:gd name="T13" fmla="*/ 0 h 9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88" h="936">
                    <a:moveTo>
                      <a:pt x="237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884"/>
                      <a:pt x="0" y="884"/>
                      <a:pt x="0" y="884"/>
                    </a:cubicBezTo>
                    <a:cubicBezTo>
                      <a:pt x="0" y="936"/>
                      <a:pt x="0" y="936"/>
                      <a:pt x="0" y="936"/>
                    </a:cubicBezTo>
                    <a:cubicBezTo>
                      <a:pt x="655" y="784"/>
                      <a:pt x="1440" y="498"/>
                      <a:pt x="2275" y="103"/>
                    </a:cubicBezTo>
                    <a:cubicBezTo>
                      <a:pt x="2347" y="69"/>
                      <a:pt x="2418" y="35"/>
                      <a:pt x="2488" y="0"/>
                    </a:cubicBezTo>
                    <a:lnTo>
                      <a:pt x="2371" y="0"/>
                    </a:lnTo>
                    <a:close/>
                  </a:path>
                </a:pathLst>
              </a:custGeom>
              <a:solidFill>
                <a:srgbClr val="FF32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23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7884814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 userDrawn="1"/>
        </p:nvGrpSpPr>
        <p:grpSpPr bwMode="invGray">
          <a:xfrm>
            <a:off x="-1" y="0"/>
            <a:ext cx="12193477" cy="6858000"/>
            <a:chOff x="-21582063" y="-12138025"/>
            <a:chExt cx="55356126" cy="31134050"/>
          </a:xfrm>
        </p:grpSpPr>
        <p:sp>
          <p:nvSpPr>
            <p:cNvPr id="16" name="Freeform 70"/>
            <p:cNvSpPr>
              <a:spLocks/>
            </p:cNvSpPr>
            <p:nvPr userDrawn="1"/>
          </p:nvSpPr>
          <p:spPr bwMode="invGray">
            <a:xfrm>
              <a:off x="25909588" y="12830175"/>
              <a:ext cx="7864475" cy="6165850"/>
            </a:xfrm>
            <a:custGeom>
              <a:avLst/>
              <a:gdLst>
                <a:gd name="T0" fmla="*/ 597 w 597"/>
                <a:gd name="T1" fmla="*/ 468 h 468"/>
                <a:gd name="T2" fmla="*/ 597 w 597"/>
                <a:gd name="T3" fmla="*/ 0 h 468"/>
                <a:gd name="T4" fmla="*/ 0 w 597"/>
                <a:gd name="T5" fmla="*/ 468 h 468"/>
                <a:gd name="T6" fmla="*/ 597 w 597"/>
                <a:gd name="T7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7" h="468">
                  <a:moveTo>
                    <a:pt x="597" y="468"/>
                  </a:moveTo>
                  <a:cubicBezTo>
                    <a:pt x="597" y="0"/>
                    <a:pt x="597" y="0"/>
                    <a:pt x="597" y="0"/>
                  </a:cubicBezTo>
                  <a:cubicBezTo>
                    <a:pt x="444" y="147"/>
                    <a:pt x="254" y="295"/>
                    <a:pt x="0" y="468"/>
                  </a:cubicBezTo>
                  <a:lnTo>
                    <a:pt x="597" y="468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7" name="Freeform 71"/>
            <p:cNvSpPr>
              <a:spLocks/>
            </p:cNvSpPr>
            <p:nvPr userDrawn="1"/>
          </p:nvSpPr>
          <p:spPr bwMode="invGray">
            <a:xfrm>
              <a:off x="1657350" y="-1136650"/>
              <a:ext cx="32116713" cy="20132675"/>
            </a:xfrm>
            <a:custGeom>
              <a:avLst/>
              <a:gdLst>
                <a:gd name="T0" fmla="*/ 0 w 2438"/>
                <a:gd name="T1" fmla="*/ 1528 h 1528"/>
                <a:gd name="T2" fmla="*/ 1841 w 2438"/>
                <a:gd name="T3" fmla="*/ 1528 h 1528"/>
                <a:gd name="T4" fmla="*/ 2438 w 2438"/>
                <a:gd name="T5" fmla="*/ 1060 h 1528"/>
                <a:gd name="T6" fmla="*/ 2438 w 2438"/>
                <a:gd name="T7" fmla="*/ 0 h 1528"/>
                <a:gd name="T8" fmla="*/ 1070 w 2438"/>
                <a:gd name="T9" fmla="*/ 993 h 1528"/>
                <a:gd name="T10" fmla="*/ 0 w 2438"/>
                <a:gd name="T11" fmla="*/ 1528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38" h="1528">
                  <a:moveTo>
                    <a:pt x="0" y="1528"/>
                  </a:moveTo>
                  <a:cubicBezTo>
                    <a:pt x="1841" y="1528"/>
                    <a:pt x="1841" y="1528"/>
                    <a:pt x="1841" y="1528"/>
                  </a:cubicBezTo>
                  <a:cubicBezTo>
                    <a:pt x="2095" y="1355"/>
                    <a:pt x="2285" y="1207"/>
                    <a:pt x="2438" y="1060"/>
                  </a:cubicBezTo>
                  <a:cubicBezTo>
                    <a:pt x="2438" y="0"/>
                    <a:pt x="2438" y="0"/>
                    <a:pt x="2438" y="0"/>
                  </a:cubicBezTo>
                  <a:cubicBezTo>
                    <a:pt x="2098" y="332"/>
                    <a:pt x="1638" y="666"/>
                    <a:pt x="1070" y="993"/>
                  </a:cubicBezTo>
                  <a:cubicBezTo>
                    <a:pt x="707" y="1201"/>
                    <a:pt x="348" y="1381"/>
                    <a:pt x="0" y="1528"/>
                  </a:cubicBezTo>
                  <a:close/>
                </a:path>
              </a:pathLst>
            </a:custGeom>
            <a:solidFill>
              <a:srgbClr val="FF9B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8" name="Freeform 72"/>
            <p:cNvSpPr>
              <a:spLocks/>
            </p:cNvSpPr>
            <p:nvPr userDrawn="1"/>
          </p:nvSpPr>
          <p:spPr bwMode="invGray">
            <a:xfrm>
              <a:off x="-21582063" y="-11295063"/>
              <a:ext cx="55356126" cy="30291088"/>
            </a:xfrm>
            <a:custGeom>
              <a:avLst/>
              <a:gdLst>
                <a:gd name="T0" fmla="*/ 2428 w 4202"/>
                <a:gd name="T1" fmla="*/ 1295 h 2299"/>
                <a:gd name="T2" fmla="*/ 0 w 4202"/>
                <a:gd name="T3" fmla="*/ 2156 h 2299"/>
                <a:gd name="T4" fmla="*/ 0 w 4202"/>
                <a:gd name="T5" fmla="*/ 2299 h 2299"/>
                <a:gd name="T6" fmla="*/ 1764 w 4202"/>
                <a:gd name="T7" fmla="*/ 2299 h 2299"/>
                <a:gd name="T8" fmla="*/ 2834 w 4202"/>
                <a:gd name="T9" fmla="*/ 1764 h 2299"/>
                <a:gd name="T10" fmla="*/ 4202 w 4202"/>
                <a:gd name="T11" fmla="*/ 771 h 2299"/>
                <a:gd name="T12" fmla="*/ 4202 w 4202"/>
                <a:gd name="T13" fmla="*/ 0 h 2299"/>
                <a:gd name="T14" fmla="*/ 2428 w 4202"/>
                <a:gd name="T15" fmla="*/ 1295 h 2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02" h="2299">
                  <a:moveTo>
                    <a:pt x="2428" y="1295"/>
                  </a:moveTo>
                  <a:cubicBezTo>
                    <a:pt x="1539" y="1755"/>
                    <a:pt x="682" y="2057"/>
                    <a:pt x="0" y="2156"/>
                  </a:cubicBezTo>
                  <a:cubicBezTo>
                    <a:pt x="0" y="2299"/>
                    <a:pt x="0" y="2299"/>
                    <a:pt x="0" y="2299"/>
                  </a:cubicBezTo>
                  <a:cubicBezTo>
                    <a:pt x="1764" y="2299"/>
                    <a:pt x="1764" y="2299"/>
                    <a:pt x="1764" y="2299"/>
                  </a:cubicBezTo>
                  <a:cubicBezTo>
                    <a:pt x="2112" y="2152"/>
                    <a:pt x="2471" y="1972"/>
                    <a:pt x="2834" y="1764"/>
                  </a:cubicBezTo>
                  <a:cubicBezTo>
                    <a:pt x="3402" y="1437"/>
                    <a:pt x="3862" y="1103"/>
                    <a:pt x="4202" y="771"/>
                  </a:cubicBezTo>
                  <a:cubicBezTo>
                    <a:pt x="4202" y="0"/>
                    <a:pt x="4202" y="0"/>
                    <a:pt x="4202" y="0"/>
                  </a:cubicBezTo>
                  <a:cubicBezTo>
                    <a:pt x="3805" y="439"/>
                    <a:pt x="3183" y="904"/>
                    <a:pt x="2428" y="1295"/>
                  </a:cubicBezTo>
                  <a:close/>
                </a:path>
              </a:pathLst>
            </a:custGeom>
            <a:solidFill>
              <a:srgbClr val="FFCD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9" name="Freeform 73"/>
            <p:cNvSpPr>
              <a:spLocks/>
            </p:cNvSpPr>
            <p:nvPr userDrawn="1"/>
          </p:nvSpPr>
          <p:spPr bwMode="invGray">
            <a:xfrm>
              <a:off x="-21582063" y="-12138025"/>
              <a:ext cx="55356126" cy="29249688"/>
            </a:xfrm>
            <a:custGeom>
              <a:avLst/>
              <a:gdLst>
                <a:gd name="T0" fmla="*/ 2512 w 4202"/>
                <a:gd name="T1" fmla="*/ 0 h 2220"/>
                <a:gd name="T2" fmla="*/ 1723 w 4202"/>
                <a:gd name="T3" fmla="*/ 431 h 2220"/>
                <a:gd name="T4" fmla="*/ 0 w 4202"/>
                <a:gd name="T5" fmla="*/ 1068 h 2220"/>
                <a:gd name="T6" fmla="*/ 0 w 4202"/>
                <a:gd name="T7" fmla="*/ 2220 h 2220"/>
                <a:gd name="T8" fmla="*/ 2428 w 4202"/>
                <a:gd name="T9" fmla="*/ 1359 h 2220"/>
                <a:gd name="T10" fmla="*/ 4202 w 4202"/>
                <a:gd name="T11" fmla="*/ 64 h 2220"/>
                <a:gd name="T12" fmla="*/ 4202 w 4202"/>
                <a:gd name="T13" fmla="*/ 0 h 2220"/>
                <a:gd name="T14" fmla="*/ 2512 w 4202"/>
                <a:gd name="T15" fmla="*/ 0 h 2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02" h="2220">
                  <a:moveTo>
                    <a:pt x="2512" y="0"/>
                  </a:moveTo>
                  <a:cubicBezTo>
                    <a:pt x="2270" y="150"/>
                    <a:pt x="2004" y="296"/>
                    <a:pt x="1723" y="431"/>
                  </a:cubicBezTo>
                  <a:cubicBezTo>
                    <a:pt x="1089" y="736"/>
                    <a:pt x="493" y="955"/>
                    <a:pt x="0" y="1068"/>
                  </a:cubicBezTo>
                  <a:cubicBezTo>
                    <a:pt x="0" y="2220"/>
                    <a:pt x="0" y="2220"/>
                    <a:pt x="0" y="2220"/>
                  </a:cubicBezTo>
                  <a:cubicBezTo>
                    <a:pt x="682" y="2121"/>
                    <a:pt x="1539" y="1819"/>
                    <a:pt x="2428" y="1359"/>
                  </a:cubicBezTo>
                  <a:cubicBezTo>
                    <a:pt x="3183" y="968"/>
                    <a:pt x="3805" y="503"/>
                    <a:pt x="4202" y="64"/>
                  </a:cubicBezTo>
                  <a:cubicBezTo>
                    <a:pt x="4202" y="0"/>
                    <a:pt x="4202" y="0"/>
                    <a:pt x="4202" y="0"/>
                  </a:cubicBezTo>
                  <a:lnTo>
                    <a:pt x="2512" y="0"/>
                  </a:lnTo>
                  <a:close/>
                </a:path>
              </a:pathLst>
            </a:custGeom>
            <a:solidFill>
              <a:srgbClr val="993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74"/>
            <p:cNvSpPr>
              <a:spLocks/>
            </p:cNvSpPr>
            <p:nvPr userDrawn="1"/>
          </p:nvSpPr>
          <p:spPr bwMode="invGray">
            <a:xfrm>
              <a:off x="-21582063" y="-12138025"/>
              <a:ext cx="33093026" cy="14071600"/>
            </a:xfrm>
            <a:custGeom>
              <a:avLst/>
              <a:gdLst>
                <a:gd name="T0" fmla="*/ 2512 w 2512"/>
                <a:gd name="T1" fmla="*/ 0 h 1068"/>
                <a:gd name="T2" fmla="*/ 0 w 2512"/>
                <a:gd name="T3" fmla="*/ 0 h 1068"/>
                <a:gd name="T4" fmla="*/ 0 w 2512"/>
                <a:gd name="T5" fmla="*/ 1068 h 1068"/>
                <a:gd name="T6" fmla="*/ 1723 w 2512"/>
                <a:gd name="T7" fmla="*/ 431 h 1068"/>
                <a:gd name="T8" fmla="*/ 2512 w 2512"/>
                <a:gd name="T9" fmla="*/ 0 h 1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12" h="1068">
                  <a:moveTo>
                    <a:pt x="25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068"/>
                    <a:pt x="0" y="1068"/>
                    <a:pt x="0" y="1068"/>
                  </a:cubicBezTo>
                  <a:cubicBezTo>
                    <a:pt x="493" y="955"/>
                    <a:pt x="1089" y="736"/>
                    <a:pt x="1723" y="431"/>
                  </a:cubicBezTo>
                  <a:cubicBezTo>
                    <a:pt x="2004" y="296"/>
                    <a:pt x="2270" y="150"/>
                    <a:pt x="2512" y="0"/>
                  </a:cubicBez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4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542708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/>
          <p:nvPr userDrawn="1"/>
        </p:nvGrpSpPr>
        <p:grpSpPr bwMode="invGray">
          <a:xfrm>
            <a:off x="331" y="0"/>
            <a:ext cx="12192000" cy="6858000"/>
            <a:chOff x="-23126700" y="-13012738"/>
            <a:chExt cx="58445401" cy="32883476"/>
          </a:xfrm>
        </p:grpSpPr>
        <p:sp>
          <p:nvSpPr>
            <p:cNvPr id="19" name="Freeform 31"/>
            <p:cNvSpPr>
              <a:spLocks/>
            </p:cNvSpPr>
            <p:nvPr userDrawn="1"/>
          </p:nvSpPr>
          <p:spPr bwMode="invGray">
            <a:xfrm>
              <a:off x="-23126700" y="-13012738"/>
              <a:ext cx="58445400" cy="32883476"/>
            </a:xfrm>
            <a:custGeom>
              <a:avLst/>
              <a:gdLst>
                <a:gd name="T0" fmla="*/ 2668 w 5548"/>
                <a:gd name="T1" fmla="*/ 654 h 3121"/>
                <a:gd name="T2" fmla="*/ 0 w 5548"/>
                <a:gd name="T3" fmla="*/ 1560 h 3121"/>
                <a:gd name="T4" fmla="*/ 0 w 5548"/>
                <a:gd name="T5" fmla="*/ 3121 h 3121"/>
                <a:gd name="T6" fmla="*/ 2075 w 5548"/>
                <a:gd name="T7" fmla="*/ 3121 h 3121"/>
                <a:gd name="T8" fmla="*/ 4084 w 5548"/>
                <a:gd name="T9" fmla="*/ 2181 h 3121"/>
                <a:gd name="T10" fmla="*/ 5548 w 5548"/>
                <a:gd name="T11" fmla="*/ 1179 h 3121"/>
                <a:gd name="T12" fmla="*/ 5548 w 5548"/>
                <a:gd name="T13" fmla="*/ 0 h 3121"/>
                <a:gd name="T14" fmla="*/ 3878 w 5548"/>
                <a:gd name="T15" fmla="*/ 0 h 3121"/>
                <a:gd name="T16" fmla="*/ 2668 w 5548"/>
                <a:gd name="T17" fmla="*/ 654 h 3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48" h="3121">
                  <a:moveTo>
                    <a:pt x="2668" y="654"/>
                  </a:moveTo>
                  <a:cubicBezTo>
                    <a:pt x="1644" y="1134"/>
                    <a:pt x="721" y="1446"/>
                    <a:pt x="0" y="1560"/>
                  </a:cubicBezTo>
                  <a:cubicBezTo>
                    <a:pt x="0" y="3121"/>
                    <a:pt x="0" y="3121"/>
                    <a:pt x="0" y="3121"/>
                  </a:cubicBezTo>
                  <a:cubicBezTo>
                    <a:pt x="2075" y="3121"/>
                    <a:pt x="2075" y="3121"/>
                    <a:pt x="2075" y="3121"/>
                  </a:cubicBezTo>
                  <a:cubicBezTo>
                    <a:pt x="2712" y="2895"/>
                    <a:pt x="3394" y="2577"/>
                    <a:pt x="4084" y="2181"/>
                  </a:cubicBezTo>
                  <a:cubicBezTo>
                    <a:pt x="4658" y="1851"/>
                    <a:pt x="5149" y="1515"/>
                    <a:pt x="5548" y="1179"/>
                  </a:cubicBezTo>
                  <a:cubicBezTo>
                    <a:pt x="5548" y="0"/>
                    <a:pt x="5548" y="0"/>
                    <a:pt x="5548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3510" y="229"/>
                    <a:pt x="3102" y="450"/>
                    <a:pt x="2668" y="654"/>
                  </a:cubicBez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0" name="Freeform 26"/>
            <p:cNvSpPr>
              <a:spLocks/>
            </p:cNvSpPr>
            <p:nvPr userDrawn="1"/>
          </p:nvSpPr>
          <p:spPr bwMode="invGray">
            <a:xfrm>
              <a:off x="23013988" y="11093450"/>
              <a:ext cx="12304713" cy="8777288"/>
            </a:xfrm>
            <a:custGeom>
              <a:avLst/>
              <a:gdLst>
                <a:gd name="T0" fmla="*/ 0 w 1168"/>
                <a:gd name="T1" fmla="*/ 833 h 833"/>
                <a:gd name="T2" fmla="*/ 1168 w 1168"/>
                <a:gd name="T3" fmla="*/ 833 h 833"/>
                <a:gd name="T4" fmla="*/ 1168 w 1168"/>
                <a:gd name="T5" fmla="*/ 0 h 833"/>
                <a:gd name="T6" fmla="*/ 322 w 1168"/>
                <a:gd name="T7" fmla="*/ 631 h 833"/>
                <a:gd name="T8" fmla="*/ 0 w 1168"/>
                <a:gd name="T9" fmla="*/ 833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833">
                  <a:moveTo>
                    <a:pt x="0" y="833"/>
                  </a:moveTo>
                  <a:cubicBezTo>
                    <a:pt x="1168" y="833"/>
                    <a:pt x="1168" y="833"/>
                    <a:pt x="1168" y="833"/>
                  </a:cubicBezTo>
                  <a:cubicBezTo>
                    <a:pt x="1168" y="0"/>
                    <a:pt x="1168" y="0"/>
                    <a:pt x="1168" y="0"/>
                  </a:cubicBezTo>
                  <a:cubicBezTo>
                    <a:pt x="917" y="216"/>
                    <a:pt x="634" y="428"/>
                    <a:pt x="322" y="631"/>
                  </a:cubicBezTo>
                  <a:cubicBezTo>
                    <a:pt x="215" y="701"/>
                    <a:pt x="108" y="768"/>
                    <a:pt x="0" y="833"/>
                  </a:cubicBez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1" name="Freeform 27"/>
            <p:cNvSpPr>
              <a:spLocks/>
            </p:cNvSpPr>
            <p:nvPr userDrawn="1"/>
          </p:nvSpPr>
          <p:spPr bwMode="invGray">
            <a:xfrm>
              <a:off x="17410113" y="8218488"/>
              <a:ext cx="17908588" cy="11652250"/>
            </a:xfrm>
            <a:custGeom>
              <a:avLst/>
              <a:gdLst>
                <a:gd name="T0" fmla="*/ 0 w 1700"/>
                <a:gd name="T1" fmla="*/ 1106 h 1106"/>
                <a:gd name="T2" fmla="*/ 532 w 1700"/>
                <a:gd name="T3" fmla="*/ 1106 h 1106"/>
                <a:gd name="T4" fmla="*/ 854 w 1700"/>
                <a:gd name="T5" fmla="*/ 904 h 1106"/>
                <a:gd name="T6" fmla="*/ 1700 w 1700"/>
                <a:gd name="T7" fmla="*/ 273 h 1106"/>
                <a:gd name="T8" fmla="*/ 1700 w 1700"/>
                <a:gd name="T9" fmla="*/ 0 h 1106"/>
                <a:gd name="T10" fmla="*/ 689 w 1700"/>
                <a:gd name="T11" fmla="*/ 717 h 1106"/>
                <a:gd name="T12" fmla="*/ 0 w 1700"/>
                <a:gd name="T13" fmla="*/ 1106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0" h="1106">
                  <a:moveTo>
                    <a:pt x="0" y="1106"/>
                  </a:moveTo>
                  <a:cubicBezTo>
                    <a:pt x="532" y="1106"/>
                    <a:pt x="532" y="1106"/>
                    <a:pt x="532" y="1106"/>
                  </a:cubicBezTo>
                  <a:cubicBezTo>
                    <a:pt x="640" y="1041"/>
                    <a:pt x="747" y="974"/>
                    <a:pt x="854" y="904"/>
                  </a:cubicBezTo>
                  <a:cubicBezTo>
                    <a:pt x="1166" y="701"/>
                    <a:pt x="1449" y="489"/>
                    <a:pt x="1700" y="273"/>
                  </a:cubicBezTo>
                  <a:cubicBezTo>
                    <a:pt x="1700" y="0"/>
                    <a:pt x="1700" y="0"/>
                    <a:pt x="1700" y="0"/>
                  </a:cubicBezTo>
                  <a:cubicBezTo>
                    <a:pt x="1404" y="252"/>
                    <a:pt x="1065" y="493"/>
                    <a:pt x="689" y="717"/>
                  </a:cubicBezTo>
                  <a:cubicBezTo>
                    <a:pt x="456" y="857"/>
                    <a:pt x="226" y="986"/>
                    <a:pt x="0" y="1106"/>
                  </a:cubicBezTo>
                  <a:close/>
                </a:path>
              </a:pathLst>
            </a:custGeom>
            <a:solidFill>
              <a:srgbClr val="0099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2" name="Freeform 28"/>
            <p:cNvSpPr>
              <a:spLocks/>
            </p:cNvSpPr>
            <p:nvPr userDrawn="1"/>
          </p:nvSpPr>
          <p:spPr bwMode="invGray">
            <a:xfrm>
              <a:off x="-1268413" y="-590550"/>
              <a:ext cx="36587113" cy="20461288"/>
            </a:xfrm>
            <a:custGeom>
              <a:avLst/>
              <a:gdLst>
                <a:gd name="T0" fmla="*/ 0 w 3473"/>
                <a:gd name="T1" fmla="*/ 1942 h 1942"/>
                <a:gd name="T2" fmla="*/ 1773 w 3473"/>
                <a:gd name="T3" fmla="*/ 1942 h 1942"/>
                <a:gd name="T4" fmla="*/ 2462 w 3473"/>
                <a:gd name="T5" fmla="*/ 1553 h 1942"/>
                <a:gd name="T6" fmla="*/ 3473 w 3473"/>
                <a:gd name="T7" fmla="*/ 836 h 1942"/>
                <a:gd name="T8" fmla="*/ 3473 w 3473"/>
                <a:gd name="T9" fmla="*/ 0 h 1942"/>
                <a:gd name="T10" fmla="*/ 2009 w 3473"/>
                <a:gd name="T11" fmla="*/ 1002 h 1942"/>
                <a:gd name="T12" fmla="*/ 0 w 3473"/>
                <a:gd name="T13" fmla="*/ 1942 h 1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3" h="1942">
                  <a:moveTo>
                    <a:pt x="0" y="1942"/>
                  </a:moveTo>
                  <a:cubicBezTo>
                    <a:pt x="1773" y="1942"/>
                    <a:pt x="1773" y="1942"/>
                    <a:pt x="1773" y="1942"/>
                  </a:cubicBezTo>
                  <a:cubicBezTo>
                    <a:pt x="1999" y="1822"/>
                    <a:pt x="2229" y="1693"/>
                    <a:pt x="2462" y="1553"/>
                  </a:cubicBezTo>
                  <a:cubicBezTo>
                    <a:pt x="2838" y="1329"/>
                    <a:pt x="3177" y="1088"/>
                    <a:pt x="3473" y="836"/>
                  </a:cubicBezTo>
                  <a:cubicBezTo>
                    <a:pt x="3473" y="0"/>
                    <a:pt x="3473" y="0"/>
                    <a:pt x="3473" y="0"/>
                  </a:cubicBezTo>
                  <a:cubicBezTo>
                    <a:pt x="3074" y="336"/>
                    <a:pt x="2583" y="672"/>
                    <a:pt x="2009" y="1002"/>
                  </a:cubicBezTo>
                  <a:cubicBezTo>
                    <a:pt x="1319" y="1398"/>
                    <a:pt x="637" y="1716"/>
                    <a:pt x="0" y="1942"/>
                  </a:cubicBezTo>
                  <a:close/>
                </a:path>
              </a:pathLst>
            </a:custGeom>
            <a:solidFill>
              <a:srgbClr val="00CD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8" name="Freeform 29"/>
            <p:cNvSpPr>
              <a:spLocks/>
            </p:cNvSpPr>
            <p:nvPr userDrawn="1"/>
          </p:nvSpPr>
          <p:spPr bwMode="invGray">
            <a:xfrm>
              <a:off x="17726025" y="-13012738"/>
              <a:ext cx="17592675" cy="0"/>
            </a:xfrm>
            <a:custGeom>
              <a:avLst/>
              <a:gdLst>
                <a:gd name="T0" fmla="*/ 0 w 1670"/>
                <a:gd name="T1" fmla="*/ 0 w 1670"/>
                <a:gd name="T2" fmla="*/ 1670 w 1670"/>
                <a:gd name="T3" fmla="*/ 1670 w 1670"/>
                <a:gd name="T4" fmla="*/ 0 w 167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67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70" y="0"/>
                    <a:pt x="1670" y="0"/>
                    <a:pt x="1670" y="0"/>
                  </a:cubicBezTo>
                  <a:cubicBezTo>
                    <a:pt x="1670" y="0"/>
                    <a:pt x="1670" y="0"/>
                    <a:pt x="167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29" name="Rectangle 30"/>
            <p:cNvSpPr>
              <a:spLocks noChangeArrowheads="1"/>
            </p:cNvSpPr>
            <p:nvPr userDrawn="1"/>
          </p:nvSpPr>
          <p:spPr bwMode="invGray">
            <a:xfrm>
              <a:off x="-23126700" y="3424237"/>
              <a:ext cx="1588" cy="16446501"/>
            </a:xfrm>
            <a:prstGeom prst="rect">
              <a:avLst/>
            </a:pr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0" name="Freeform 32"/>
            <p:cNvSpPr>
              <a:spLocks/>
            </p:cNvSpPr>
            <p:nvPr userDrawn="1"/>
          </p:nvSpPr>
          <p:spPr bwMode="invGray">
            <a:xfrm>
              <a:off x="-23126700" y="-13012738"/>
              <a:ext cx="40852725" cy="16436975"/>
            </a:xfrm>
            <a:custGeom>
              <a:avLst/>
              <a:gdLst>
                <a:gd name="T0" fmla="*/ 0 w 3878"/>
                <a:gd name="T1" fmla="*/ 0 h 1560"/>
                <a:gd name="T2" fmla="*/ 3878 w 3878"/>
                <a:gd name="T3" fmla="*/ 0 h 1560"/>
                <a:gd name="T4" fmla="*/ 3878 w 3878"/>
                <a:gd name="T5" fmla="*/ 0 h 1560"/>
                <a:gd name="T6" fmla="*/ 0 w 3878"/>
                <a:gd name="T7" fmla="*/ 0 h 1560"/>
                <a:gd name="T8" fmla="*/ 0 w 3878"/>
                <a:gd name="T9" fmla="*/ 1560 h 1560"/>
                <a:gd name="T10" fmla="*/ 0 w 3878"/>
                <a:gd name="T11" fmla="*/ 1560 h 1560"/>
                <a:gd name="T12" fmla="*/ 0 w 3878"/>
                <a:gd name="T13" fmla="*/ 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8" h="1560">
                  <a:moveTo>
                    <a:pt x="0" y="0"/>
                  </a:moveTo>
                  <a:cubicBezTo>
                    <a:pt x="3878" y="0"/>
                    <a:pt x="3878" y="0"/>
                    <a:pt x="3878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60"/>
                    <a:pt x="0" y="1560"/>
                    <a:pt x="0" y="1560"/>
                  </a:cubicBezTo>
                  <a:cubicBezTo>
                    <a:pt x="0" y="1560"/>
                    <a:pt x="0" y="1560"/>
                    <a:pt x="0" y="15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31" name="Freeform 33"/>
            <p:cNvSpPr>
              <a:spLocks/>
            </p:cNvSpPr>
            <p:nvPr userDrawn="1"/>
          </p:nvSpPr>
          <p:spPr bwMode="invGray">
            <a:xfrm>
              <a:off x="-23126700" y="-13012738"/>
              <a:ext cx="40852725" cy="16436975"/>
            </a:xfrm>
            <a:custGeom>
              <a:avLst/>
              <a:gdLst>
                <a:gd name="T0" fmla="*/ 0 w 3878"/>
                <a:gd name="T1" fmla="*/ 1560 h 1560"/>
                <a:gd name="T2" fmla="*/ 2668 w 3878"/>
                <a:gd name="T3" fmla="*/ 654 h 1560"/>
                <a:gd name="T4" fmla="*/ 3878 w 3878"/>
                <a:gd name="T5" fmla="*/ 0 h 1560"/>
                <a:gd name="T6" fmla="*/ 0 w 3878"/>
                <a:gd name="T7" fmla="*/ 0 h 1560"/>
                <a:gd name="T8" fmla="*/ 0 w 3878"/>
                <a:gd name="T9" fmla="*/ 156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78" h="1560">
                  <a:moveTo>
                    <a:pt x="0" y="1560"/>
                  </a:moveTo>
                  <a:cubicBezTo>
                    <a:pt x="721" y="1446"/>
                    <a:pt x="1644" y="1134"/>
                    <a:pt x="2668" y="654"/>
                  </a:cubicBezTo>
                  <a:cubicBezTo>
                    <a:pt x="3102" y="450"/>
                    <a:pt x="3510" y="229"/>
                    <a:pt x="387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56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03215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B80066-B5C9-4D4E-AEE1-0A67E8E716A5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539999" y="1793875"/>
            <a:ext cx="11112251" cy="4167188"/>
          </a:xfrm>
        </p:spPr>
        <p:txBody>
          <a:bodyPr/>
          <a:lstStyle>
            <a:lvl1pPr>
              <a:tabLst>
                <a:tab pos="896938" algn="l"/>
              </a:tabLst>
              <a:defRPr/>
            </a:lvl1pPr>
            <a:lvl2pPr marL="1168400" indent="-271463">
              <a:tabLst>
                <a:tab pos="896938" algn="l"/>
              </a:tabLst>
              <a:defRPr/>
            </a:lvl2pPr>
            <a:lvl3pPr marL="1431925" indent="-265113">
              <a:tabLst>
                <a:tab pos="896938" algn="l"/>
              </a:tabLst>
              <a:defRPr/>
            </a:lvl3pPr>
            <a:lvl4pPr marL="1433513" indent="-1588">
              <a:tabLst>
                <a:tab pos="896938" algn="l"/>
              </a:tabLst>
              <a:defRPr/>
            </a:lvl4pPr>
            <a:lvl5pPr marL="1433513" indent="-1588">
              <a:tabLst>
                <a:tab pos="896938" algn="l"/>
              </a:tabLs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9584149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08B60D-9A85-48B5-9D2A-E05187794BE1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538164" y="1793876"/>
            <a:ext cx="5467350" cy="4167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10" name="Content Placeholder 3"/>
          <p:cNvSpPr>
            <a:spLocks noGrp="1"/>
          </p:cNvSpPr>
          <p:nvPr>
            <p:ph sz="quarter" idx="14"/>
          </p:nvPr>
        </p:nvSpPr>
        <p:spPr>
          <a:xfrm>
            <a:off x="6184900" y="1793876"/>
            <a:ext cx="5467350" cy="4167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929414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1451D0-7D92-4A54-ABA5-640E50EAFD17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3"/>
          </p:nvPr>
        </p:nvSpPr>
        <p:spPr>
          <a:xfrm>
            <a:off x="541602" y="1793876"/>
            <a:ext cx="3583549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2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4"/>
          </p:nvPr>
        </p:nvSpPr>
        <p:spPr>
          <a:xfrm>
            <a:off x="4305151" y="1793876"/>
            <a:ext cx="3583137" cy="4167187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2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5"/>
          </p:nvPr>
        </p:nvSpPr>
        <p:spPr>
          <a:xfrm>
            <a:off x="8068700" y="1793876"/>
            <a:ext cx="3583550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2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73794420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D7561F-43BA-4717-B504-1896AFD4243B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/>
          </p:nvPr>
        </p:nvSpPr>
        <p:spPr>
          <a:xfrm>
            <a:off x="540000" y="1793875"/>
            <a:ext cx="2644526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2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3362325" y="1793875"/>
            <a:ext cx="2643188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2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5"/>
          </p:nvPr>
        </p:nvSpPr>
        <p:spPr>
          <a:xfrm>
            <a:off x="6183312" y="1793876"/>
            <a:ext cx="2646363" cy="4167188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2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6"/>
          </p:nvPr>
        </p:nvSpPr>
        <p:spPr>
          <a:xfrm>
            <a:off x="9005888" y="1793876"/>
            <a:ext cx="2646362" cy="4167187"/>
          </a:xfrm>
        </p:spPr>
        <p:txBody>
          <a:bodyPr/>
          <a:lstStyle>
            <a:lvl1pPr>
              <a:spcBef>
                <a:spcPts val="600"/>
              </a:spcBef>
              <a:defRPr sz="1600"/>
            </a:lvl1pPr>
            <a:lvl2pPr>
              <a:spcBef>
                <a:spcPts val="600"/>
              </a:spcBef>
              <a:defRPr sz="12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200"/>
            </a:lvl4pPr>
            <a:lvl5pPr>
              <a:spcBef>
                <a:spcPts val="600"/>
              </a:spcBef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05100670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3A1786-1985-4EDA-B7FA-658841104AFD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040617" y="6421919"/>
            <a:ext cx="3964896" cy="153888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6184900" y="0"/>
            <a:ext cx="60071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540000" y="1793876"/>
            <a:ext cx="5465514" cy="4167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40000" y="538163"/>
            <a:ext cx="5465514" cy="10795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5518828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ADB50-B62D-41A4-ABB6-1DE615F695A6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>
            <a:lvl1pPr>
              <a:defRPr sz="3000"/>
            </a:lvl1pPr>
            <a:lvl2pPr>
              <a:defRPr sz="3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6345646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59C093-E252-4B9F-B17A-0C5578978A0B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22231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Meta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 userDrawn="1"/>
        </p:nvSpPr>
        <p:spPr>
          <a:xfrm>
            <a:off x="3363912" y="4513263"/>
            <a:ext cx="524182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</a:rPr>
              <a:t>Identifier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3363912" y="4680493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Identifier 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3363912" y="4904290"/>
            <a:ext cx="468077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baseline="0" dirty="0">
                <a:solidFill>
                  <a:schemeClr val="bg1">
                    <a:lumMod val="50000"/>
                  </a:schemeClr>
                </a:solidFill>
              </a:rPr>
              <a:t>Version</a:t>
            </a:r>
            <a:endParaRPr lang="en-GB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3363912" y="5285792"/>
            <a:ext cx="50334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</a:rPr>
              <a:t>Status</a:t>
            </a:r>
          </a:p>
        </p:txBody>
      </p:sp>
      <p:sp>
        <p:nvSpPr>
          <p:cNvPr id="2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3363912" y="5453022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Status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3363912" y="5676819"/>
            <a:ext cx="50334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</a:rPr>
              <a:t>Relation</a:t>
            </a:r>
          </a:p>
        </p:txBody>
      </p:sp>
      <p:sp>
        <p:nvSpPr>
          <p:cNvPr id="27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3363912" y="5844047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Relation</a:t>
            </a:r>
          </a:p>
        </p:txBody>
      </p:sp>
      <p:sp>
        <p:nvSpPr>
          <p:cNvPr id="24" name="TextBox 23"/>
          <p:cNvSpPr txBox="1"/>
          <p:nvPr userDrawn="1"/>
        </p:nvSpPr>
        <p:spPr>
          <a:xfrm>
            <a:off x="538163" y="4517983"/>
            <a:ext cx="892873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</a:rPr>
              <a:t>Document</a:t>
            </a:r>
            <a:r>
              <a:rPr lang="en-GB" sz="1000" baseline="0" dirty="0">
                <a:solidFill>
                  <a:schemeClr val="bg1">
                    <a:lumMod val="50000"/>
                  </a:schemeClr>
                </a:solidFill>
              </a:rPr>
              <a:t> type</a:t>
            </a:r>
            <a:endParaRPr lang="en-GB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538164" y="4685213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Document type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538163" y="4909010"/>
            <a:ext cx="490519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</a:rPr>
              <a:t>Creato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538163" y="5290512"/>
            <a:ext cx="750205" cy="1538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GB" sz="1000" dirty="0">
                <a:solidFill>
                  <a:schemeClr val="bg1">
                    <a:lumMod val="50000"/>
                  </a:schemeClr>
                </a:solidFill>
              </a:rPr>
              <a:t>Approved by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538164" y="5457742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Name and telephone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3363912" y="5071519"/>
            <a:ext cx="2641601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Version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538164" y="5076239"/>
            <a:ext cx="2646362" cy="169277"/>
          </a:xfrm>
        </p:spPr>
        <p:txBody>
          <a:bodyPr wrap="square" rIns="0">
            <a:noAutofit/>
          </a:bodyPr>
          <a:lstStyle>
            <a:lvl1pPr marL="0" indent="0">
              <a:buNone/>
              <a:defRPr sz="1000" baseline="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Name and telephon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5467350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5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 noProof="0"/>
              <a:t>yyyy-mm-dd</a:t>
            </a:r>
            <a:endParaRPr lang="sv-SE" noProof="0" dirty="0"/>
          </a:p>
        </p:txBody>
      </p:sp>
      <p:sp>
        <p:nvSpPr>
          <p:cNvPr id="36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184901" y="1"/>
            <a:ext cx="60071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006653"/>
      </p:ext>
    </p:extLst>
  </p:cSld>
  <p:clrMapOvr>
    <a:masterClrMapping/>
  </p:clrMapOvr>
  <p:transition>
    <p:fade/>
  </p:transition>
  <p:hf sldNum="0"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E16AE-5EEA-463F-9FFC-539E42DEC6B3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09073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Placeholder 7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749799" y="2431150"/>
            <a:ext cx="6692651" cy="198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03908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E55C6E3D-0121-49A8-B81C-73B41FB72C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1793875"/>
            <a:ext cx="8291512" cy="2719388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3" y="4689476"/>
            <a:ext cx="5467350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9" name="Date Placeholder 2"/>
          <p:cNvSpPr>
            <a:spLocks noGrp="1"/>
          </p:cNvSpPr>
          <p:nvPr>
            <p:ph type="dt" sz="half" idx="14"/>
          </p:nvPr>
        </p:nvSpPr>
        <p:spPr>
          <a:xfrm>
            <a:off x="538163" y="6421919"/>
            <a:ext cx="828000" cy="153888"/>
          </a:xfrm>
        </p:spPr>
        <p:txBody>
          <a:bodyPr/>
          <a:lstStyle/>
          <a:p>
            <a:r>
              <a:rPr lang="sv-SE" noProof="0"/>
              <a:t>yyyy-mm-dd</a:t>
            </a:r>
            <a:endParaRPr lang="sv-SE" noProof="0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725" y="165237"/>
            <a:ext cx="4258798" cy="12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550843"/>
      </p:ext>
    </p:extLst>
  </p:cSld>
  <p:clrMapOvr>
    <a:masterClrMapping/>
  </p:clrMapOvr>
  <p:transition>
    <p:fade/>
  </p:transition>
  <p:hf sldNum="0"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</a:t>
            </a:r>
            <a:r>
              <a:rPr lang="en-US" dirty="0" err="1"/>
              <a:t>TITLe</a:t>
            </a:r>
            <a:endParaRPr lang="en-GB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220096287"/>
      </p:ext>
    </p:extLst>
  </p:cSld>
  <p:clrMapOvr>
    <a:masterClrMapping/>
  </p:clrMapOvr>
  <p:transition>
    <p:fade/>
  </p:transition>
  <p:hf sldNum="0"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538162" y="538163"/>
            <a:ext cx="8291513" cy="3975100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8162" y="4689476"/>
            <a:ext cx="8291513" cy="1271588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  <a:endParaRPr lang="en-GB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yyyy-mm-dd</a:t>
            </a:r>
            <a:endParaRPr lang="sv-SE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Internal</a:t>
            </a:r>
            <a:endParaRPr lang="sv-SE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2D7E8A-A0E3-4239-9A38-4F8DCAE2A924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A5AF053C-1D73-4FB8-AC50-0C5AC7C98A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13089" y="6320663"/>
            <a:ext cx="338912" cy="35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470752"/>
      </p:ext>
    </p:extLst>
  </p:cSld>
  <p:clrMapOvr>
    <a:masterClrMapping/>
  </p:clrMapOvr>
  <p:transition>
    <p:fade/>
  </p:transition>
  <p:hf sldNum="0"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Pebbl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C104682-7B83-4202-AF0A-23FAE8924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538164" y="538164"/>
            <a:ext cx="5467350" cy="25272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6907002"/>
      </p:ext>
    </p:extLst>
  </p:cSld>
  <p:clrMapOvr>
    <a:masterClrMapping/>
  </p:clrMapOvr>
  <p:transition>
    <p:fade/>
  </p:transition>
  <p:hf sldNum="0"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with Ripple 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1">
            <a:extLst>
              <a:ext uri="{FF2B5EF4-FFF2-40B4-BE49-F238E27FC236}">
                <a16:creationId xmlns:a16="http://schemas.microsoft.com/office/drawing/2014/main" id="{A907EB9C-D1BF-4207-88C2-8C8A1D62520E}"/>
              </a:ext>
            </a:extLst>
          </p:cNvPr>
          <p:cNvGrpSpPr/>
          <p:nvPr userDrawn="1"/>
        </p:nvGrpSpPr>
        <p:grpSpPr bwMode="ltGray">
          <a:xfrm>
            <a:off x="0" y="0"/>
            <a:ext cx="12192000" cy="6858000"/>
            <a:chOff x="-23126700" y="-13012738"/>
            <a:chExt cx="58445401" cy="32883476"/>
          </a:xfrm>
        </p:grpSpPr>
        <p:sp>
          <p:nvSpPr>
            <p:cNvPr id="5" name="Freeform 31">
              <a:extLst>
                <a:ext uri="{FF2B5EF4-FFF2-40B4-BE49-F238E27FC236}">
                  <a16:creationId xmlns:a16="http://schemas.microsoft.com/office/drawing/2014/main" id="{CAEEB74A-51FC-4D51-8057-58B696710972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23126700" y="-13012738"/>
              <a:ext cx="58445400" cy="32883476"/>
            </a:xfrm>
            <a:custGeom>
              <a:avLst/>
              <a:gdLst>
                <a:gd name="T0" fmla="*/ 2668 w 5548"/>
                <a:gd name="T1" fmla="*/ 654 h 3121"/>
                <a:gd name="T2" fmla="*/ 0 w 5548"/>
                <a:gd name="T3" fmla="*/ 1560 h 3121"/>
                <a:gd name="T4" fmla="*/ 0 w 5548"/>
                <a:gd name="T5" fmla="*/ 3121 h 3121"/>
                <a:gd name="T6" fmla="*/ 2075 w 5548"/>
                <a:gd name="T7" fmla="*/ 3121 h 3121"/>
                <a:gd name="T8" fmla="*/ 4084 w 5548"/>
                <a:gd name="T9" fmla="*/ 2181 h 3121"/>
                <a:gd name="T10" fmla="*/ 5548 w 5548"/>
                <a:gd name="T11" fmla="*/ 1179 h 3121"/>
                <a:gd name="T12" fmla="*/ 5548 w 5548"/>
                <a:gd name="T13" fmla="*/ 0 h 3121"/>
                <a:gd name="T14" fmla="*/ 3878 w 5548"/>
                <a:gd name="T15" fmla="*/ 0 h 3121"/>
                <a:gd name="T16" fmla="*/ 2668 w 5548"/>
                <a:gd name="T17" fmla="*/ 654 h 3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48" h="3121">
                  <a:moveTo>
                    <a:pt x="2668" y="654"/>
                  </a:moveTo>
                  <a:cubicBezTo>
                    <a:pt x="1644" y="1134"/>
                    <a:pt x="721" y="1446"/>
                    <a:pt x="0" y="1560"/>
                  </a:cubicBezTo>
                  <a:cubicBezTo>
                    <a:pt x="0" y="3121"/>
                    <a:pt x="0" y="3121"/>
                    <a:pt x="0" y="3121"/>
                  </a:cubicBezTo>
                  <a:cubicBezTo>
                    <a:pt x="2075" y="3121"/>
                    <a:pt x="2075" y="3121"/>
                    <a:pt x="2075" y="3121"/>
                  </a:cubicBezTo>
                  <a:cubicBezTo>
                    <a:pt x="2712" y="2895"/>
                    <a:pt x="3394" y="2577"/>
                    <a:pt x="4084" y="2181"/>
                  </a:cubicBezTo>
                  <a:cubicBezTo>
                    <a:pt x="4658" y="1851"/>
                    <a:pt x="5149" y="1515"/>
                    <a:pt x="5548" y="1179"/>
                  </a:cubicBezTo>
                  <a:cubicBezTo>
                    <a:pt x="5548" y="0"/>
                    <a:pt x="5548" y="0"/>
                    <a:pt x="5548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3510" y="229"/>
                    <a:pt x="3102" y="450"/>
                    <a:pt x="2668" y="654"/>
                  </a:cubicBezTo>
                  <a:close/>
                </a:path>
              </a:pathLst>
            </a:custGeom>
            <a:solidFill>
              <a:srgbClr val="B34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63E2B16F-8063-4AC6-BCF8-ADEF216BE10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23013988" y="11093450"/>
              <a:ext cx="12304713" cy="8777288"/>
            </a:xfrm>
            <a:custGeom>
              <a:avLst/>
              <a:gdLst>
                <a:gd name="T0" fmla="*/ 0 w 1168"/>
                <a:gd name="T1" fmla="*/ 833 h 833"/>
                <a:gd name="T2" fmla="*/ 1168 w 1168"/>
                <a:gd name="T3" fmla="*/ 833 h 833"/>
                <a:gd name="T4" fmla="*/ 1168 w 1168"/>
                <a:gd name="T5" fmla="*/ 0 h 833"/>
                <a:gd name="T6" fmla="*/ 322 w 1168"/>
                <a:gd name="T7" fmla="*/ 631 h 833"/>
                <a:gd name="T8" fmla="*/ 0 w 1168"/>
                <a:gd name="T9" fmla="*/ 833 h 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68" h="833">
                  <a:moveTo>
                    <a:pt x="0" y="833"/>
                  </a:moveTo>
                  <a:cubicBezTo>
                    <a:pt x="1168" y="833"/>
                    <a:pt x="1168" y="833"/>
                    <a:pt x="1168" y="833"/>
                  </a:cubicBezTo>
                  <a:cubicBezTo>
                    <a:pt x="1168" y="0"/>
                    <a:pt x="1168" y="0"/>
                    <a:pt x="1168" y="0"/>
                  </a:cubicBezTo>
                  <a:cubicBezTo>
                    <a:pt x="917" y="216"/>
                    <a:pt x="634" y="428"/>
                    <a:pt x="322" y="631"/>
                  </a:cubicBezTo>
                  <a:cubicBezTo>
                    <a:pt x="215" y="701"/>
                    <a:pt x="108" y="768"/>
                    <a:pt x="0" y="833"/>
                  </a:cubicBezTo>
                  <a:close/>
                </a:path>
              </a:pathLst>
            </a:custGeom>
            <a:solidFill>
              <a:srgbClr val="00CDFF"/>
            </a:solidFill>
            <a:ln w="57150">
              <a:solidFill>
                <a:srgbClr val="00CD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7" name="Freeform 27">
              <a:extLst>
                <a:ext uri="{FF2B5EF4-FFF2-40B4-BE49-F238E27FC236}">
                  <a16:creationId xmlns:a16="http://schemas.microsoft.com/office/drawing/2014/main" id="{D3F2DB2E-D6A3-4A7E-A72F-3124008FFA9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7410113" y="8218488"/>
              <a:ext cx="17908588" cy="11652250"/>
            </a:xfrm>
            <a:custGeom>
              <a:avLst/>
              <a:gdLst>
                <a:gd name="T0" fmla="*/ 0 w 1700"/>
                <a:gd name="T1" fmla="*/ 1106 h 1106"/>
                <a:gd name="T2" fmla="*/ 532 w 1700"/>
                <a:gd name="T3" fmla="*/ 1106 h 1106"/>
                <a:gd name="T4" fmla="*/ 854 w 1700"/>
                <a:gd name="T5" fmla="*/ 904 h 1106"/>
                <a:gd name="T6" fmla="*/ 1700 w 1700"/>
                <a:gd name="T7" fmla="*/ 273 h 1106"/>
                <a:gd name="T8" fmla="*/ 1700 w 1700"/>
                <a:gd name="T9" fmla="*/ 0 h 1106"/>
                <a:gd name="T10" fmla="*/ 689 w 1700"/>
                <a:gd name="T11" fmla="*/ 717 h 1106"/>
                <a:gd name="T12" fmla="*/ 0 w 1700"/>
                <a:gd name="T13" fmla="*/ 1106 h 1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0" h="1106">
                  <a:moveTo>
                    <a:pt x="0" y="1106"/>
                  </a:moveTo>
                  <a:cubicBezTo>
                    <a:pt x="532" y="1106"/>
                    <a:pt x="532" y="1106"/>
                    <a:pt x="532" y="1106"/>
                  </a:cubicBezTo>
                  <a:cubicBezTo>
                    <a:pt x="640" y="1041"/>
                    <a:pt x="747" y="974"/>
                    <a:pt x="854" y="904"/>
                  </a:cubicBezTo>
                  <a:cubicBezTo>
                    <a:pt x="1166" y="701"/>
                    <a:pt x="1449" y="489"/>
                    <a:pt x="1700" y="273"/>
                  </a:cubicBezTo>
                  <a:cubicBezTo>
                    <a:pt x="1700" y="0"/>
                    <a:pt x="1700" y="0"/>
                    <a:pt x="1700" y="0"/>
                  </a:cubicBezTo>
                  <a:cubicBezTo>
                    <a:pt x="1404" y="252"/>
                    <a:pt x="1065" y="493"/>
                    <a:pt x="689" y="717"/>
                  </a:cubicBezTo>
                  <a:cubicBezTo>
                    <a:pt x="456" y="857"/>
                    <a:pt x="226" y="986"/>
                    <a:pt x="0" y="1106"/>
                  </a:cubicBezTo>
                  <a:close/>
                </a:path>
              </a:pathLst>
            </a:custGeom>
            <a:solidFill>
              <a:srgbClr val="40B3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" name="Freeform 28">
              <a:extLst>
                <a:ext uri="{FF2B5EF4-FFF2-40B4-BE49-F238E27FC236}">
                  <a16:creationId xmlns:a16="http://schemas.microsoft.com/office/drawing/2014/main" id="{5B500E91-4CF5-44B0-840B-3CC84805AD84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1268413" y="-590550"/>
              <a:ext cx="36587113" cy="20461288"/>
            </a:xfrm>
            <a:custGeom>
              <a:avLst/>
              <a:gdLst>
                <a:gd name="T0" fmla="*/ 0 w 3473"/>
                <a:gd name="T1" fmla="*/ 1942 h 1942"/>
                <a:gd name="T2" fmla="*/ 1773 w 3473"/>
                <a:gd name="T3" fmla="*/ 1942 h 1942"/>
                <a:gd name="T4" fmla="*/ 2462 w 3473"/>
                <a:gd name="T5" fmla="*/ 1553 h 1942"/>
                <a:gd name="T6" fmla="*/ 3473 w 3473"/>
                <a:gd name="T7" fmla="*/ 836 h 1942"/>
                <a:gd name="T8" fmla="*/ 3473 w 3473"/>
                <a:gd name="T9" fmla="*/ 0 h 1942"/>
                <a:gd name="T10" fmla="*/ 2009 w 3473"/>
                <a:gd name="T11" fmla="*/ 1002 h 1942"/>
                <a:gd name="T12" fmla="*/ 0 w 3473"/>
                <a:gd name="T13" fmla="*/ 1942 h 1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73" h="1942">
                  <a:moveTo>
                    <a:pt x="0" y="1942"/>
                  </a:moveTo>
                  <a:cubicBezTo>
                    <a:pt x="1773" y="1942"/>
                    <a:pt x="1773" y="1942"/>
                    <a:pt x="1773" y="1942"/>
                  </a:cubicBezTo>
                  <a:cubicBezTo>
                    <a:pt x="1999" y="1822"/>
                    <a:pt x="2229" y="1693"/>
                    <a:pt x="2462" y="1553"/>
                  </a:cubicBezTo>
                  <a:cubicBezTo>
                    <a:pt x="2838" y="1329"/>
                    <a:pt x="3177" y="1088"/>
                    <a:pt x="3473" y="836"/>
                  </a:cubicBezTo>
                  <a:cubicBezTo>
                    <a:pt x="3473" y="0"/>
                    <a:pt x="3473" y="0"/>
                    <a:pt x="3473" y="0"/>
                  </a:cubicBezTo>
                  <a:cubicBezTo>
                    <a:pt x="3074" y="336"/>
                    <a:pt x="2583" y="672"/>
                    <a:pt x="2009" y="1002"/>
                  </a:cubicBezTo>
                  <a:cubicBezTo>
                    <a:pt x="1319" y="1398"/>
                    <a:pt x="637" y="1716"/>
                    <a:pt x="0" y="1942"/>
                  </a:cubicBezTo>
                  <a:close/>
                </a:path>
              </a:pathLst>
            </a:custGeom>
            <a:solidFill>
              <a:srgbClr val="00CDFF"/>
            </a:solidFill>
            <a:ln w="9525">
              <a:solidFill>
                <a:srgbClr val="00CDFF"/>
              </a:solidFill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" name="Freeform 29">
              <a:extLst>
                <a:ext uri="{FF2B5EF4-FFF2-40B4-BE49-F238E27FC236}">
                  <a16:creationId xmlns:a16="http://schemas.microsoft.com/office/drawing/2014/main" id="{126B81E2-8634-420D-80EC-60D9A5DEEF0A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17726025" y="-13012738"/>
              <a:ext cx="17592675" cy="0"/>
            </a:xfrm>
            <a:custGeom>
              <a:avLst/>
              <a:gdLst>
                <a:gd name="T0" fmla="*/ 0 w 1670"/>
                <a:gd name="T1" fmla="*/ 0 w 1670"/>
                <a:gd name="T2" fmla="*/ 1670 w 1670"/>
                <a:gd name="T3" fmla="*/ 1670 w 1670"/>
                <a:gd name="T4" fmla="*/ 0 w 167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670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670" y="0"/>
                    <a:pt x="1670" y="0"/>
                    <a:pt x="1670" y="0"/>
                  </a:cubicBezTo>
                  <a:cubicBezTo>
                    <a:pt x="1670" y="0"/>
                    <a:pt x="1670" y="0"/>
                    <a:pt x="167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" name="Rectangle 30">
              <a:extLst>
                <a:ext uri="{FF2B5EF4-FFF2-40B4-BE49-F238E27FC236}">
                  <a16:creationId xmlns:a16="http://schemas.microsoft.com/office/drawing/2014/main" id="{816880FB-B1A6-4787-8728-8F8545714ED8}"/>
                </a:ext>
              </a:extLst>
            </p:cNvPr>
            <p:cNvSpPr>
              <a:spLocks noChangeArrowheads="1"/>
            </p:cNvSpPr>
            <p:nvPr userDrawn="1"/>
          </p:nvSpPr>
          <p:spPr bwMode="ltGray">
            <a:xfrm>
              <a:off x="-23126700" y="3424237"/>
              <a:ext cx="1588" cy="16446501"/>
            </a:xfrm>
            <a:prstGeom prst="rect">
              <a:avLst/>
            </a:prstGeom>
            <a:solidFill>
              <a:srgbClr val="990A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57149F97-3A40-4F03-B9FC-7ED59D981277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23126700" y="-13012738"/>
              <a:ext cx="40852725" cy="16436975"/>
            </a:xfrm>
            <a:custGeom>
              <a:avLst/>
              <a:gdLst>
                <a:gd name="T0" fmla="*/ 0 w 3878"/>
                <a:gd name="T1" fmla="*/ 0 h 1560"/>
                <a:gd name="T2" fmla="*/ 3878 w 3878"/>
                <a:gd name="T3" fmla="*/ 0 h 1560"/>
                <a:gd name="T4" fmla="*/ 3878 w 3878"/>
                <a:gd name="T5" fmla="*/ 0 h 1560"/>
                <a:gd name="T6" fmla="*/ 0 w 3878"/>
                <a:gd name="T7" fmla="*/ 0 h 1560"/>
                <a:gd name="T8" fmla="*/ 0 w 3878"/>
                <a:gd name="T9" fmla="*/ 1560 h 1560"/>
                <a:gd name="T10" fmla="*/ 0 w 3878"/>
                <a:gd name="T11" fmla="*/ 1560 h 1560"/>
                <a:gd name="T12" fmla="*/ 0 w 3878"/>
                <a:gd name="T13" fmla="*/ 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878" h="1560">
                  <a:moveTo>
                    <a:pt x="0" y="0"/>
                  </a:moveTo>
                  <a:cubicBezTo>
                    <a:pt x="3878" y="0"/>
                    <a:pt x="3878" y="0"/>
                    <a:pt x="3878" y="0"/>
                  </a:cubicBezTo>
                  <a:cubicBezTo>
                    <a:pt x="3878" y="0"/>
                    <a:pt x="3878" y="0"/>
                    <a:pt x="387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560"/>
                    <a:pt x="0" y="1560"/>
                    <a:pt x="0" y="1560"/>
                  </a:cubicBezTo>
                  <a:cubicBezTo>
                    <a:pt x="0" y="1560"/>
                    <a:pt x="0" y="1560"/>
                    <a:pt x="0" y="156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C00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9101296E-E1A2-49C3-84CA-264A7321C1EB}"/>
                </a:ext>
              </a:extLst>
            </p:cNvPr>
            <p:cNvSpPr>
              <a:spLocks/>
            </p:cNvSpPr>
            <p:nvPr userDrawn="1"/>
          </p:nvSpPr>
          <p:spPr bwMode="ltGray">
            <a:xfrm>
              <a:off x="-23126700" y="-13012738"/>
              <a:ext cx="40852725" cy="16436975"/>
            </a:xfrm>
            <a:custGeom>
              <a:avLst/>
              <a:gdLst>
                <a:gd name="T0" fmla="*/ 0 w 3878"/>
                <a:gd name="T1" fmla="*/ 1560 h 1560"/>
                <a:gd name="T2" fmla="*/ 2668 w 3878"/>
                <a:gd name="T3" fmla="*/ 654 h 1560"/>
                <a:gd name="T4" fmla="*/ 3878 w 3878"/>
                <a:gd name="T5" fmla="*/ 0 h 1560"/>
                <a:gd name="T6" fmla="*/ 0 w 3878"/>
                <a:gd name="T7" fmla="*/ 0 h 1560"/>
                <a:gd name="T8" fmla="*/ 0 w 3878"/>
                <a:gd name="T9" fmla="*/ 1560 h 15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78" h="1560">
                  <a:moveTo>
                    <a:pt x="0" y="1560"/>
                  </a:moveTo>
                  <a:cubicBezTo>
                    <a:pt x="721" y="1446"/>
                    <a:pt x="1644" y="1134"/>
                    <a:pt x="2668" y="654"/>
                  </a:cubicBezTo>
                  <a:cubicBezTo>
                    <a:pt x="3102" y="450"/>
                    <a:pt x="3510" y="229"/>
                    <a:pt x="3878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560"/>
                  </a:lnTo>
                  <a:close/>
                </a:path>
              </a:pathLst>
            </a:custGeom>
            <a:solidFill>
              <a:srgbClr val="AF5A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/>
            </a:p>
          </p:txBody>
        </p:sp>
      </p:grp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8291511" cy="3975099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99572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  <p:hf sldNum="0"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image" Target="../media/image1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999" y="538163"/>
            <a:ext cx="11112251" cy="10795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sv-S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793875"/>
            <a:ext cx="11112251" cy="4167188"/>
          </a:xfrm>
          <a:prstGeom prst="rect">
            <a:avLst/>
          </a:prstGeom>
        </p:spPr>
        <p:txBody>
          <a:bodyPr vert="horz" lIns="0" tIns="0" rIns="18000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v-SE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84746" y="6421919"/>
            <a:ext cx="828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 noProof="0"/>
              <a:t>yyyy-mm-dd</a:t>
            </a:r>
            <a:endParaRPr lang="sv-SE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0617" y="6421919"/>
            <a:ext cx="9036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 noProof="0"/>
              <a:t>Internal</a:t>
            </a:r>
            <a:endParaRPr lang="sv-SE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999" y="6421919"/>
            <a:ext cx="432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A92D7E8A-A0E3-4239-9A38-4F8DCAE2A924}" type="slidenum">
              <a:rPr lang="sv-SE" noProof="0" smtClean="0"/>
              <a:pPr/>
              <a:t>‹#›</a:t>
            </a:fld>
            <a:endParaRPr lang="sv-SE" noProof="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3901" y="6320917"/>
            <a:ext cx="338349" cy="35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36240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72" r:id="rId2"/>
    <p:sldLayoutId id="2147483773" r:id="rId3"/>
    <p:sldLayoutId id="2147483746" r:id="rId4"/>
    <p:sldLayoutId id="2147483747" r:id="rId5"/>
    <p:sldLayoutId id="2147483748" r:id="rId6"/>
    <p:sldLayoutId id="2147483749" r:id="rId7"/>
    <p:sldLayoutId id="2147483766" r:id="rId8"/>
    <p:sldLayoutId id="2147483770" r:id="rId9"/>
    <p:sldLayoutId id="2147483771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74" r:id="rId16"/>
    <p:sldLayoutId id="2147483761" r:id="rId17"/>
    <p:sldLayoutId id="2147483762" r:id="rId18"/>
    <p:sldLayoutId id="2147483763" r:id="rId19"/>
    <p:sldLayoutId id="2147483764" r:id="rId20"/>
    <p:sldLayoutId id="2147483775" r:id="rId21"/>
  </p:sldLayoutIdLst>
  <p:transition>
    <p:fade/>
  </p:transition>
  <p:hf sldNum="0"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400" b="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76000" indent="-28575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64000" indent="-276225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Char char="−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86400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864000" indent="0" algn="l" defTabSz="914400" rtl="0" eaLnBrk="1" latinLnBrk="0" hangingPunct="1">
        <a:lnSpc>
          <a:spcPct val="100000"/>
        </a:lnSpc>
        <a:spcBef>
          <a:spcPts val="200"/>
        </a:spcBef>
        <a:spcAft>
          <a:spcPts val="200"/>
        </a:spcAft>
        <a:buFont typeface="Arial" panose="020B0604020202020204" pitchFamily="34" charset="0"/>
        <a:buNone/>
        <a:defRPr sz="16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39">
          <p15:clr>
            <a:srgbClr val="F26B43"/>
          </p15:clr>
        </p15:guide>
        <p15:guide id="2" pos="3896">
          <p15:clr>
            <a:srgbClr val="F26B43"/>
          </p15:clr>
        </p15:guide>
        <p15:guide id="3" pos="339">
          <p15:clr>
            <a:srgbClr val="F26B43"/>
          </p15:clr>
        </p15:guide>
        <p15:guide id="4" pos="7340">
          <p15:clr>
            <a:srgbClr val="F26B43"/>
          </p15:clr>
        </p15:guide>
        <p15:guide id="5" orient="horz" pos="3755">
          <p15:clr>
            <a:srgbClr val="F26B43"/>
          </p15:clr>
        </p15:guide>
        <p15:guide id="6" orient="horz" pos="1019">
          <p15:clr>
            <a:srgbClr val="F26B43"/>
          </p15:clr>
        </p15:guide>
        <p15:guide id="7" pos="2006">
          <p15:clr>
            <a:srgbClr val="F26B43"/>
          </p15:clr>
        </p15:guide>
        <p15:guide id="8" pos="5673">
          <p15:clr>
            <a:srgbClr val="F26B43"/>
          </p15:clr>
        </p15:guide>
        <p15:guide id="9" pos="2118">
          <p15:clr>
            <a:srgbClr val="F26B43"/>
          </p15:clr>
        </p15:guide>
        <p15:guide id="10" pos="3783">
          <p15:clr>
            <a:srgbClr val="F26B43"/>
          </p15:clr>
        </p15:guide>
        <p15:guide id="11" pos="5562">
          <p15:clr>
            <a:srgbClr val="F26B43"/>
          </p15:clr>
        </p15:guide>
        <p15:guide id="12" orient="horz" pos="1130">
          <p15:clr>
            <a:srgbClr val="F26B43"/>
          </p15:clr>
        </p15:guide>
        <p15:guide id="13" orient="horz" pos="2042">
          <p15:clr>
            <a:srgbClr val="F26B43"/>
          </p15:clr>
        </p15:guide>
        <p15:guide id="14" orient="horz" pos="2843">
          <p15:clr>
            <a:srgbClr val="F26B43"/>
          </p15:clr>
        </p15:guide>
        <p15:guide id="15" orient="horz" pos="1931">
          <p15:clr>
            <a:srgbClr val="F26B43"/>
          </p15:clr>
        </p15:guide>
        <p15:guide id="16" orient="horz" pos="2954">
          <p15:clr>
            <a:srgbClr val="F26B43"/>
          </p15:clr>
        </p15:guide>
        <p15:guide id="17" orient="horz" pos="386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9999" y="538163"/>
            <a:ext cx="11112251" cy="10795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Master title style</a:t>
            </a:r>
            <a:endParaRPr lang="sv-SE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9999" y="1793875"/>
            <a:ext cx="11112251" cy="4167188"/>
          </a:xfrm>
          <a:prstGeom prst="rect">
            <a:avLst/>
          </a:prstGeom>
        </p:spPr>
        <p:txBody>
          <a:bodyPr vert="horz" lIns="0" tIns="0" rIns="18000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sv-SE" noProof="0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84746" y="6421919"/>
            <a:ext cx="828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F656DE95-6777-461A-B1B4-C977413D9B13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40617" y="6421919"/>
            <a:ext cx="9036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>
                <a:solidFill>
                  <a:prstClr val="black"/>
                </a:solidFill>
              </a:rPr>
              <a:t>Confidentiality class    Relation    Identifier    Version    Status</a:t>
            </a:r>
            <a:endParaRPr lang="sv-SE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39999" y="6421919"/>
            <a:ext cx="432000" cy="15388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A92D7E8A-A0E3-4239-9A38-4F8DCAE2A924}" type="slidenum">
              <a:rPr lang="sv-SE" smtClean="0">
                <a:solidFill>
                  <a:prstClr val="black"/>
                </a:solidFill>
              </a:rPr>
              <a:pPr/>
              <a:t>‹#›</a:t>
            </a:fld>
            <a:endParaRPr lang="sv-SE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13901" y="6320917"/>
            <a:ext cx="338349" cy="355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064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  <p:sldLayoutId id="2147483807" r:id="rId19"/>
    <p:sldLayoutId id="2147483808" r:id="rId20"/>
  </p:sldLayoutIdLst>
  <p:transition>
    <p:fade/>
  </p:transition>
  <p:hf hdr="0" ft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400" b="1" kern="120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285750" indent="-28575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7622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Char char="−"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541338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4pPr>
      <a:lvl5pPr marL="541338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600" kern="1200" baseline="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Font typeface="Arial" panose="020B0604020202020204" pitchFamily="34" charset="0"/>
        <a:buNone/>
        <a:defRPr sz="2200" kern="1200">
          <a:solidFill>
            <a:schemeClr val="tx1"/>
          </a:solidFill>
          <a:latin typeface="+mj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0"/>
        </a:spcBef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39">
          <p15:clr>
            <a:srgbClr val="F26B43"/>
          </p15:clr>
        </p15:guide>
        <p15:guide id="2" pos="3896">
          <p15:clr>
            <a:srgbClr val="F26B43"/>
          </p15:clr>
        </p15:guide>
        <p15:guide id="3" pos="339">
          <p15:clr>
            <a:srgbClr val="F26B43"/>
          </p15:clr>
        </p15:guide>
        <p15:guide id="4" pos="7340">
          <p15:clr>
            <a:srgbClr val="F26B43"/>
          </p15:clr>
        </p15:guide>
        <p15:guide id="5" orient="horz" pos="3755">
          <p15:clr>
            <a:srgbClr val="F26B43"/>
          </p15:clr>
        </p15:guide>
        <p15:guide id="6" orient="horz" pos="1019">
          <p15:clr>
            <a:srgbClr val="F26B43"/>
          </p15:clr>
        </p15:guide>
        <p15:guide id="7" pos="2006">
          <p15:clr>
            <a:srgbClr val="F26B43"/>
          </p15:clr>
        </p15:guide>
        <p15:guide id="8" pos="5673">
          <p15:clr>
            <a:srgbClr val="F26B43"/>
          </p15:clr>
        </p15:guide>
        <p15:guide id="9" pos="2118">
          <p15:clr>
            <a:srgbClr val="F26B43"/>
          </p15:clr>
        </p15:guide>
        <p15:guide id="10" pos="3783">
          <p15:clr>
            <a:srgbClr val="F26B43"/>
          </p15:clr>
        </p15:guide>
        <p15:guide id="11" pos="5562">
          <p15:clr>
            <a:srgbClr val="F26B43"/>
          </p15:clr>
        </p15:guide>
        <p15:guide id="12" orient="horz" pos="1130">
          <p15:clr>
            <a:srgbClr val="F26B43"/>
          </p15:clr>
        </p15:guide>
        <p15:guide id="13" orient="horz" pos="2042">
          <p15:clr>
            <a:srgbClr val="F26B43"/>
          </p15:clr>
        </p15:guide>
        <p15:guide id="14" orient="horz" pos="2843">
          <p15:clr>
            <a:srgbClr val="F26B43"/>
          </p15:clr>
        </p15:guide>
        <p15:guide id="15" orient="horz" pos="1931">
          <p15:clr>
            <a:srgbClr val="F26B43"/>
          </p15:clr>
        </p15:guide>
        <p15:guide id="16" orient="horz" pos="2954">
          <p15:clr>
            <a:srgbClr val="F26B43"/>
          </p15:clr>
        </p15:guide>
        <p15:guide id="17" orient="horz" pos="38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3.xml"/><Relationship Id="rId5" Type="http://schemas.openxmlformats.org/officeDocument/2006/relationships/image" Target="file:///C:\TCTemplates\Images\03%20Telia%20Company%20Pebbles\PEBBLES_RGB-20.png" TargetMode="External"/><Relationship Id="rId4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2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2BF9D6-7B45-4910-8B6F-BAB7BC082A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779585"/>
            <a:ext cx="12192000" cy="914400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8282372-7F09-4ABD-8941-FDFE82FC7C92}"/>
              </a:ext>
            </a:extLst>
          </p:cNvPr>
          <p:cNvPicPr>
            <a:picLocks noChangeAspect="1"/>
          </p:cNvPicPr>
          <p:nvPr/>
        </p:nvPicPr>
        <p:blipFill>
          <a:blip r:embed="rId4" r:link="rId5"/>
          <a:stretch>
            <a:fillRect/>
          </a:stretch>
        </p:blipFill>
        <p:spPr>
          <a:xfrm>
            <a:off x="357853" y="282193"/>
            <a:ext cx="1453786" cy="152801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67167DF-BB2C-45F8-BB4C-840D77CF2E5F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084745" y="584533"/>
            <a:ext cx="10444901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6000" dirty="0">
                <a:solidFill>
                  <a:schemeClr val="bg1"/>
                </a:solidFill>
                <a:latin typeface="+mj-lt"/>
              </a:rPr>
              <a:t>Sjökabelbrott </a:t>
            </a:r>
            <a:r>
              <a:rPr lang="sv-SE" sz="6000" dirty="0" err="1">
                <a:solidFill>
                  <a:schemeClr val="bg1"/>
                </a:solidFill>
                <a:latin typeface="+mj-lt"/>
              </a:rPr>
              <a:t>styrsö</a:t>
            </a:r>
            <a:r>
              <a:rPr lang="sv-SE" sz="6000" dirty="0">
                <a:latin typeface="+mj-lt"/>
              </a:rPr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1781E9A7-0915-4E11-BE84-929A7903078D}"/>
              </a:ext>
            </a:extLst>
          </p:cNvPr>
          <p:cNvSpPr txBox="1">
            <a:spLocks/>
          </p:cNvSpPr>
          <p:nvPr/>
        </p:nvSpPr>
        <p:spPr>
          <a:xfrm>
            <a:off x="1004393" y="4129976"/>
            <a:ext cx="4672133" cy="11201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4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b="0" dirty="0">
                <a:solidFill>
                  <a:schemeClr val="bg1"/>
                </a:solidFill>
              </a:rPr>
              <a:t>Stefan Hamrelius</a:t>
            </a:r>
          </a:p>
          <a:p>
            <a:r>
              <a:rPr lang="sv-SE" sz="2800" b="0" dirty="0">
                <a:solidFill>
                  <a:schemeClr val="bg1"/>
                </a:solidFill>
              </a:rPr>
              <a:t>Peter Larsson</a:t>
            </a:r>
          </a:p>
          <a:p>
            <a:r>
              <a:rPr lang="sv-SE" sz="2800" b="0" dirty="0">
                <a:solidFill>
                  <a:schemeClr val="bg1"/>
                </a:solidFill>
              </a:rPr>
              <a:t>Anna-Carin Mattsson</a:t>
            </a:r>
          </a:p>
          <a:p>
            <a:endParaRPr lang="sv-SE" sz="2800" b="0" dirty="0">
              <a:solidFill>
                <a:schemeClr val="bg1"/>
              </a:solidFill>
            </a:endParaRPr>
          </a:p>
          <a:p>
            <a:endParaRPr lang="sv-SE" sz="3200" b="0" dirty="0">
              <a:solidFill>
                <a:schemeClr val="bg1"/>
              </a:solidFill>
            </a:endParaRPr>
          </a:p>
          <a:p>
            <a:r>
              <a:rPr lang="sv-SE" sz="2800" b="0" dirty="0">
                <a:solidFill>
                  <a:schemeClr val="bg1"/>
                </a:solidFill>
              </a:rPr>
              <a:t>Telia Infra SVERIGE</a:t>
            </a:r>
          </a:p>
          <a:p>
            <a:br>
              <a:rPr lang="sv-SE" sz="3600" b="0" dirty="0">
                <a:solidFill>
                  <a:schemeClr val="bg1"/>
                </a:solidFill>
              </a:rPr>
            </a:br>
            <a:br>
              <a:rPr lang="sv-SE" sz="3600" b="0" dirty="0">
                <a:solidFill>
                  <a:schemeClr val="bg1"/>
                </a:solidFill>
              </a:rPr>
            </a:br>
            <a:endParaRPr lang="sv-SE" sz="2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686997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58A468-65E2-478D-B5F1-10526DD58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y fiberkabel läggs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F3DDCA3-BF8E-4E2F-A6AF-5A5907D1D0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6087C7-CBA2-47DA-9548-679E407D5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A46614C-8FC3-449F-920E-8D39134AC5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9556" y="2067339"/>
            <a:ext cx="7559997" cy="425249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A100E041-B5C4-40B6-AFAC-455DA6DBFC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66934" y="486113"/>
            <a:ext cx="4531154" cy="2548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87735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3E6649-504D-4EF9-933D-431FBAB160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orsningen av </a:t>
            </a:r>
            <a:r>
              <a:rPr lang="sv-SE" dirty="0" err="1"/>
              <a:t>VA-anläggning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48D3AF-6C02-4510-AF3D-0608C41D49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BB23858-7424-4E62-A52C-D8AF6CA3BB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81B1D69C-8204-4899-B707-76B633BD335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7462" y="3094291"/>
            <a:ext cx="5715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DB8623FE-B4FB-4C6C-BC1D-BC273FB4C17C}"/>
              </a:ext>
            </a:extLst>
          </p:cNvPr>
          <p:cNvSpPr/>
          <p:nvPr/>
        </p:nvSpPr>
        <p:spPr>
          <a:xfrm>
            <a:off x="7510394" y="1446004"/>
            <a:ext cx="2577749" cy="1313578"/>
          </a:xfrm>
          <a:prstGeom prst="wedgeRoundRectCallout">
            <a:avLst>
              <a:gd name="adj1" fmla="val -60811"/>
              <a:gd name="adj2" fmla="val 207083"/>
              <a:gd name="adj3" fmla="val 16667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rmAutofit fontScale="85000" lnSpcReduction="10000"/>
          </a:bodyPr>
          <a:lstStyle/>
          <a:p>
            <a:pPr algn="ctr"/>
            <a:r>
              <a:rPr lang="sv-SE" sz="2000" dirty="0">
                <a:solidFill>
                  <a:schemeClr val="tx1"/>
                </a:solidFill>
              </a:rPr>
              <a:t>Vi har lagt ett rör under VA ledningen som vår kabel går 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F771101-42A6-4378-890F-BD70EB6F3C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999" y="1232452"/>
            <a:ext cx="6499822" cy="3656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246247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D64D7-18AB-4218-A0A7-C6C3D60A95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21FD0D-E605-4F00-8590-FF87A7DF0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777EB09-2280-4FCC-A9E1-898765E38B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38939878-902D-4FB6-A4C2-409D75C7F3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15" y="374220"/>
            <a:ext cx="10254925" cy="3241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7F3B652-319D-4C86-B5B9-E0B4234E0D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56994" y="3637023"/>
            <a:ext cx="6678569" cy="320335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D41EE7C-D1C0-461A-B274-6DA6F465EFF6}"/>
              </a:ext>
            </a:extLst>
          </p:cNvPr>
          <p:cNvSpPr txBox="1"/>
          <p:nvPr/>
        </p:nvSpPr>
        <p:spPr>
          <a:xfrm>
            <a:off x="472437" y="4006600"/>
            <a:ext cx="4360168" cy="221599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342900" indent="-342900">
              <a:buAutoNum type="arabicPeriod"/>
            </a:pPr>
            <a:r>
              <a:rPr lang="sv-SE" dirty="0"/>
              <a:t>Fibrer</a:t>
            </a:r>
          </a:p>
          <a:p>
            <a:pPr marL="342900" indent="-342900">
              <a:buAutoNum type="arabicPeriod"/>
            </a:pPr>
            <a:r>
              <a:rPr lang="sv-SE" dirty="0"/>
              <a:t>Fyllnads material</a:t>
            </a:r>
          </a:p>
          <a:p>
            <a:pPr marL="342900" indent="-342900">
              <a:buAutoNum type="arabicPeriod"/>
            </a:pPr>
            <a:r>
              <a:rPr lang="sv-SE" dirty="0"/>
              <a:t>Rostfri stålmantel</a:t>
            </a:r>
          </a:p>
          <a:p>
            <a:pPr marL="342900" indent="-342900">
              <a:buAutoNum type="arabicPeriod"/>
            </a:pPr>
            <a:r>
              <a:rPr lang="sv-SE" dirty="0"/>
              <a:t>Mantel av Polyeten</a:t>
            </a:r>
          </a:p>
          <a:p>
            <a:pPr marL="342900" indent="-342900">
              <a:buAutoNum type="arabicPeriod"/>
            </a:pPr>
            <a:r>
              <a:rPr lang="sv-SE" dirty="0"/>
              <a:t>Armering, 3 mm stålvajer i dubbla lager</a:t>
            </a:r>
          </a:p>
          <a:p>
            <a:pPr marL="342900" indent="-342900">
              <a:buAutoNum type="arabicPeriod"/>
            </a:pPr>
            <a:r>
              <a:rPr lang="sv-SE" dirty="0"/>
              <a:t>Fyllnads materiel mellan vajrarna</a:t>
            </a:r>
          </a:p>
          <a:p>
            <a:pPr marL="342900" indent="-342900">
              <a:buAutoNum type="arabicPeriod"/>
            </a:pPr>
            <a:r>
              <a:rPr lang="sv-SE" dirty="0"/>
              <a:t>Polyestermantel</a:t>
            </a:r>
          </a:p>
          <a:p>
            <a:pPr marL="342900" indent="-342900">
              <a:buAutoNum type="arabicPeriod"/>
            </a:pPr>
            <a:r>
              <a:rPr lang="sv-SE" dirty="0" err="1"/>
              <a:t>Polypropylen</a:t>
            </a:r>
            <a:r>
              <a:rPr lang="sv-SE" dirty="0"/>
              <a:t> garn</a:t>
            </a: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F0A7F1E3-BDD1-45EA-87D4-32180DD091C3}"/>
              </a:ext>
            </a:extLst>
          </p:cNvPr>
          <p:cNvSpPr/>
          <p:nvPr/>
        </p:nvSpPr>
        <p:spPr>
          <a:xfrm>
            <a:off x="10301786" y="380628"/>
            <a:ext cx="1742830" cy="930030"/>
          </a:xfrm>
          <a:prstGeom prst="wedgeRoundRectCallout">
            <a:avLst>
              <a:gd name="adj1" fmla="val -135937"/>
              <a:gd name="adj2" fmla="val 150786"/>
              <a:gd name="adj3" fmla="val 16667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rmAutofit fontScale="70000" lnSpcReduction="20000"/>
          </a:bodyPr>
          <a:lstStyle/>
          <a:p>
            <a:pPr algn="ctr"/>
            <a:r>
              <a:rPr lang="sv-SE" sz="2000" dirty="0">
                <a:solidFill>
                  <a:schemeClr val="tx1"/>
                </a:solidFill>
              </a:rPr>
              <a:t>Sträckningen för vår nya kabel</a:t>
            </a: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5CE3FE15-63D5-4205-885B-60D7AA98262A}"/>
              </a:ext>
            </a:extLst>
          </p:cNvPr>
          <p:cNvSpPr/>
          <p:nvPr/>
        </p:nvSpPr>
        <p:spPr>
          <a:xfrm>
            <a:off x="10003921" y="3773531"/>
            <a:ext cx="1742830" cy="930030"/>
          </a:xfrm>
          <a:prstGeom prst="wedgeRoundRectCallout">
            <a:avLst>
              <a:gd name="adj1" fmla="val -146109"/>
              <a:gd name="adj2" fmla="val 92597"/>
              <a:gd name="adj3" fmla="val 16667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rmAutofit fontScale="70000" lnSpcReduction="20000"/>
          </a:bodyPr>
          <a:lstStyle/>
          <a:p>
            <a:pPr algn="ctr"/>
            <a:r>
              <a:rPr lang="sv-SE" sz="2000" dirty="0">
                <a:solidFill>
                  <a:schemeClr val="tx1"/>
                </a:solidFill>
              </a:rPr>
              <a:t>Kabeln i genomskärning</a:t>
            </a:r>
          </a:p>
        </p:txBody>
      </p:sp>
    </p:spTree>
    <p:extLst>
      <p:ext uri="{BB962C8B-B14F-4D97-AF65-F5344CB8AC3E}">
        <p14:creationId xmlns:p14="http://schemas.microsoft.com/office/powerpoint/2010/main" val="261693734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Infrastruktur </a:t>
            </a:r>
            <a:r>
              <a:rPr lang="sv-SE" dirty="0" err="1"/>
              <a:t>telia</a:t>
            </a:r>
            <a:br>
              <a:rPr lang="sv-SE" dirty="0"/>
            </a:br>
            <a:r>
              <a:rPr lang="sv-SE" dirty="0" err="1"/>
              <a:t>styrsö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Stefan Hamrelius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 noProof="0"/>
              <a:t>yyyy-mm-dd</a:t>
            </a:r>
            <a:endParaRPr lang="sv-SE" noProof="0" dirty="0"/>
          </a:p>
        </p:txBody>
      </p:sp>
    </p:spTree>
    <p:extLst>
      <p:ext uri="{BB962C8B-B14F-4D97-AF65-F5344CB8AC3E}">
        <p14:creationId xmlns:p14="http://schemas.microsoft.com/office/powerpoint/2010/main" val="3193842035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1AC208F-6F9F-4339-BEAA-C747DEC8C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833594-53CE-40B6-BC5C-49A5CFDAD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9F7EFA6-0232-40B8-BBEE-D2A3465C2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edundans via Radiolänk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7058ED3-26A1-4EF9-9688-DC53612F920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38163" y="1793875"/>
            <a:ext cx="11114087" cy="3526270"/>
          </a:xfrm>
        </p:spPr>
        <p:txBody>
          <a:bodyPr/>
          <a:lstStyle/>
          <a:p>
            <a:r>
              <a:rPr lang="sv-SE" dirty="0"/>
              <a:t>Alla operatörer har fått samma krav från PTS och med åtgärd senast 2020-06-30</a:t>
            </a:r>
          </a:p>
          <a:p>
            <a:r>
              <a:rPr lang="sv-SE" dirty="0"/>
              <a:t>Telia kommer följa PTS krav för redundans för stationer som är större än 2000 kunder och med en för lång åtgärdstid vid fel.</a:t>
            </a:r>
          </a:p>
          <a:p>
            <a:r>
              <a:rPr lang="sv-SE" dirty="0"/>
              <a:t>Ny permanent radiolänk planeras vara klar till sommaren (provisorisk radiolänk behålls tills den permanenta är i drift)</a:t>
            </a:r>
          </a:p>
          <a:p>
            <a:r>
              <a:rPr lang="sv-SE" dirty="0"/>
              <a:t>Radiolänken ger redundans till Styrsö som faller in under PTS-kravet. Försörjer även underliggande öar Donsö och Vrångö, dock ej krav på redundans.</a:t>
            </a:r>
          </a:p>
          <a:p>
            <a:r>
              <a:rPr lang="sv-SE" dirty="0"/>
              <a:t>Asperö och Brännö faller inte ut som ett PTS-krav</a:t>
            </a:r>
            <a:r>
              <a:rPr lang="en-US" dirty="0"/>
              <a:t> </a:t>
            </a:r>
            <a:r>
              <a:rPr lang="en-US" dirty="0" err="1"/>
              <a:t>och</a:t>
            </a:r>
            <a:r>
              <a:rPr lang="en-US" dirty="0"/>
              <a:t> </a:t>
            </a:r>
            <a:r>
              <a:rPr lang="en-US" dirty="0" err="1"/>
              <a:t>kommer</a:t>
            </a:r>
            <a:r>
              <a:rPr lang="en-US" dirty="0"/>
              <a:t> </a:t>
            </a:r>
            <a:r>
              <a:rPr lang="en-US" dirty="0" err="1"/>
              <a:t>ej</a:t>
            </a:r>
            <a:r>
              <a:rPr lang="en-US" dirty="0"/>
              <a:t> </a:t>
            </a:r>
            <a:r>
              <a:rPr lang="en-US" dirty="0" err="1"/>
              <a:t>få</a:t>
            </a:r>
            <a:r>
              <a:rPr lang="en-US" dirty="0"/>
              <a:t> </a:t>
            </a:r>
            <a:r>
              <a:rPr lang="en-US" dirty="0" err="1"/>
              <a:t>redundans</a:t>
            </a:r>
            <a:r>
              <a:rPr lang="en-US" dirty="0"/>
              <a:t> via </a:t>
            </a:r>
            <a:r>
              <a:rPr lang="en-US" dirty="0" err="1"/>
              <a:t>radiolänken</a:t>
            </a:r>
            <a:r>
              <a:rPr lang="en-US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8792687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0A869C-45D4-4B95-8937-6AF7641A47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25ECB5D-09DC-404E-8024-0B7EEE5D9F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ublic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6CE9A50-307E-428D-9DC6-8A55F47140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iberkabel mellan öarna </a:t>
            </a:r>
            <a:r>
              <a:rPr lang="sv-SE" sz="2800" dirty="0"/>
              <a:t>(schematisk bild)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694C43D-66CF-4B73-913C-1F2C29EC503A}"/>
              </a:ext>
            </a:extLst>
          </p:cNvPr>
          <p:cNvGrpSpPr/>
          <p:nvPr/>
        </p:nvGrpSpPr>
        <p:grpSpPr>
          <a:xfrm>
            <a:off x="2071254" y="1077913"/>
            <a:ext cx="9036000" cy="5241924"/>
            <a:chOff x="2071254" y="1077913"/>
            <a:chExt cx="9036000" cy="5241924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BACEBC4-DB0B-44A8-8A47-15B3EA976F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b="10899"/>
            <a:stretch/>
          </p:blipFill>
          <p:spPr>
            <a:xfrm>
              <a:off x="2071254" y="1077913"/>
              <a:ext cx="9036000" cy="5241924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D6818766-91DF-4681-81E6-67E7A9D904F6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767783" y="2116515"/>
              <a:ext cx="1754908" cy="222004"/>
            </a:xfrm>
            <a:prstGeom prst="line">
              <a:avLst/>
            </a:prstGeom>
            <a:ln w="57150">
              <a:solidFill>
                <a:srgbClr val="D58919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D72F1BA-A272-4850-B1E5-6D537AB9A23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95128" y="2115850"/>
              <a:ext cx="588680" cy="277755"/>
            </a:xfrm>
            <a:prstGeom prst="line">
              <a:avLst/>
            </a:prstGeom>
            <a:ln w="57150">
              <a:solidFill>
                <a:srgbClr val="D58919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20ED4B7-317F-4644-8AF2-DB5212ED2CD1}"/>
                </a:ext>
              </a:extLst>
            </p:cNvPr>
            <p:cNvCxnSpPr>
              <a:cxnSpLocks/>
            </p:cNvCxnSpPr>
            <p:nvPr/>
          </p:nvCxnSpPr>
          <p:spPr>
            <a:xfrm>
              <a:off x="5195128" y="2394270"/>
              <a:ext cx="133669" cy="1589630"/>
            </a:xfrm>
            <a:prstGeom prst="line">
              <a:avLst/>
            </a:prstGeom>
            <a:ln w="57150">
              <a:solidFill>
                <a:srgbClr val="D58919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0B543DED-217F-4E13-B804-50976EE70D5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33673" y="3973023"/>
              <a:ext cx="155795" cy="1450110"/>
            </a:xfrm>
            <a:prstGeom prst="line">
              <a:avLst/>
            </a:prstGeom>
            <a:ln w="57150">
              <a:solidFill>
                <a:srgbClr val="D58919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682F0F2B-C43C-4C8D-ADEA-ED0B1185DEF7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5333674" y="3973023"/>
              <a:ext cx="522889" cy="288633"/>
            </a:xfrm>
            <a:prstGeom prst="line">
              <a:avLst/>
            </a:prstGeom>
            <a:ln w="57150">
              <a:solidFill>
                <a:srgbClr val="D58919"/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18882508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212"/>
          <a:stretch/>
        </p:blipFill>
        <p:spPr>
          <a:xfrm>
            <a:off x="0" y="-304801"/>
            <a:ext cx="12213265" cy="7207046"/>
          </a:xfrm>
          <a:prstGeom prst="rect">
            <a:avLst/>
          </a:prstGeom>
        </p:spPr>
      </p:pic>
      <p:sp>
        <p:nvSpPr>
          <p:cNvPr id="2" name="Cloud Callout 1"/>
          <p:cNvSpPr/>
          <p:nvPr/>
        </p:nvSpPr>
        <p:spPr>
          <a:xfrm>
            <a:off x="6106632" y="239486"/>
            <a:ext cx="5290710" cy="2525486"/>
          </a:xfrm>
          <a:prstGeom prst="cloudCallout">
            <a:avLst>
              <a:gd name="adj1" fmla="val -44171"/>
              <a:gd name="adj2" fmla="val 6767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r>
              <a:rPr lang="sv-SE" sz="2400" b="1" dirty="0"/>
              <a:t>Hur skapar vi en säker och hållbar digitalisering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62941" y="4942114"/>
            <a:ext cx="1410685" cy="1410685"/>
          </a:xfrm>
          <a:prstGeom prst="rect">
            <a:avLst/>
          </a:prstGeom>
          <a:effectLst>
            <a:outerShdw blurRad="152400" dir="9720000" sx="90000" sy="-19000" rotWithShape="0">
              <a:prstClr val="black">
                <a:alpha val="83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44347670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85358" y="631826"/>
            <a:ext cx="11292940" cy="1079500"/>
          </a:xfrm>
        </p:spPr>
        <p:txBody>
          <a:bodyPr/>
          <a:lstStyle/>
          <a:p>
            <a:r>
              <a:rPr lang="sv-SE" sz="3600" dirty="0"/>
              <a:t>SÄKER &amp; PÅLITLIG DIGITAL INFRASTRUKTUR</a:t>
            </a:r>
            <a:br>
              <a:rPr lang="sv-SE" sz="3600" dirty="0"/>
            </a:br>
            <a:r>
              <a:rPr lang="sv-SE" sz="2400" dirty="0"/>
              <a:t>BLODOMLOPPET OCH NERVSYSTEMET I ETT SMART &amp; HÅLLBART SAMHÄLLE</a:t>
            </a:r>
            <a:endParaRPr lang="sv-SE" sz="3600" dirty="0"/>
          </a:p>
        </p:txBody>
      </p:sp>
      <p:sp>
        <p:nvSpPr>
          <p:cNvPr id="21" name="Oval 20"/>
          <p:cNvSpPr/>
          <p:nvPr/>
        </p:nvSpPr>
        <p:spPr>
          <a:xfrm>
            <a:off x="385358" y="2325003"/>
            <a:ext cx="2213310" cy="1010643"/>
          </a:xfrm>
          <a:prstGeom prst="ellipse">
            <a:avLst/>
          </a:prstGeom>
          <a:solidFill>
            <a:schemeClr val="accent5">
              <a:alpha val="73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sv-SE" sz="1200" dirty="0">
                <a:solidFill>
                  <a:prstClr val="white"/>
                </a:solidFill>
                <a:latin typeface="Pebble"/>
              </a:rPr>
              <a:t>VATTEN &amp; ENERGISYSTEM</a:t>
            </a:r>
          </a:p>
        </p:txBody>
      </p:sp>
      <p:sp>
        <p:nvSpPr>
          <p:cNvPr id="22" name="Oval 21"/>
          <p:cNvSpPr/>
          <p:nvPr/>
        </p:nvSpPr>
        <p:spPr>
          <a:xfrm>
            <a:off x="2708138" y="2325003"/>
            <a:ext cx="2213310" cy="1010643"/>
          </a:xfrm>
          <a:prstGeom prst="ellipse">
            <a:avLst/>
          </a:prstGeom>
          <a:solidFill>
            <a:schemeClr val="accent5">
              <a:alpha val="73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sv-SE" sz="1200" dirty="0">
                <a:solidFill>
                  <a:prstClr val="white"/>
                </a:solidFill>
                <a:latin typeface="Pebble"/>
              </a:rPr>
              <a:t>TRANSPORT</a:t>
            </a:r>
            <a:br>
              <a:rPr lang="sv-SE" sz="1200" dirty="0">
                <a:solidFill>
                  <a:prstClr val="white"/>
                </a:solidFill>
                <a:latin typeface="Pebble"/>
              </a:rPr>
            </a:br>
            <a:r>
              <a:rPr lang="sv-SE" sz="1200" dirty="0">
                <a:solidFill>
                  <a:prstClr val="white"/>
                </a:solidFill>
                <a:latin typeface="Pebble"/>
              </a:rPr>
              <a:t>SYSTEM</a:t>
            </a:r>
          </a:p>
        </p:txBody>
      </p:sp>
      <p:sp>
        <p:nvSpPr>
          <p:cNvPr id="23" name="Oval 22"/>
          <p:cNvSpPr/>
          <p:nvPr/>
        </p:nvSpPr>
        <p:spPr>
          <a:xfrm>
            <a:off x="5030918" y="2325003"/>
            <a:ext cx="2213310" cy="1010643"/>
          </a:xfrm>
          <a:prstGeom prst="ellipse">
            <a:avLst/>
          </a:prstGeom>
          <a:solidFill>
            <a:schemeClr val="accent5">
              <a:alpha val="73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sv-SE" sz="1200" dirty="0">
                <a:solidFill>
                  <a:prstClr val="white"/>
                </a:solidFill>
                <a:latin typeface="Pebble"/>
              </a:rPr>
              <a:t>FINANSIELLA</a:t>
            </a:r>
            <a:br>
              <a:rPr lang="sv-SE" sz="1200" dirty="0">
                <a:solidFill>
                  <a:prstClr val="white"/>
                </a:solidFill>
                <a:latin typeface="Pebble"/>
              </a:rPr>
            </a:br>
            <a:r>
              <a:rPr lang="sv-SE" sz="1200" dirty="0">
                <a:solidFill>
                  <a:prstClr val="white"/>
                </a:solidFill>
                <a:latin typeface="Pebble"/>
              </a:rPr>
              <a:t>SYSTEM</a:t>
            </a:r>
          </a:p>
        </p:txBody>
      </p:sp>
      <p:sp>
        <p:nvSpPr>
          <p:cNvPr id="24" name="Oval 23"/>
          <p:cNvSpPr/>
          <p:nvPr/>
        </p:nvSpPr>
        <p:spPr>
          <a:xfrm>
            <a:off x="7353698" y="2325003"/>
            <a:ext cx="2213310" cy="1010643"/>
          </a:xfrm>
          <a:prstGeom prst="ellipse">
            <a:avLst/>
          </a:prstGeom>
          <a:solidFill>
            <a:schemeClr val="accent5">
              <a:alpha val="73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sv-SE" sz="1200" dirty="0">
                <a:solidFill>
                  <a:prstClr val="white"/>
                </a:solidFill>
                <a:latin typeface="Pebble"/>
              </a:rPr>
              <a:t>UTBILDNINGS &amp; VÄLFÄRDSSYSTEM</a:t>
            </a:r>
          </a:p>
        </p:txBody>
      </p:sp>
      <p:sp>
        <p:nvSpPr>
          <p:cNvPr id="25" name="Oval 24"/>
          <p:cNvSpPr/>
          <p:nvPr/>
        </p:nvSpPr>
        <p:spPr>
          <a:xfrm>
            <a:off x="9676478" y="2325003"/>
            <a:ext cx="2213310" cy="1010643"/>
          </a:xfrm>
          <a:prstGeom prst="ellipse">
            <a:avLst/>
          </a:prstGeom>
          <a:solidFill>
            <a:schemeClr val="accent5">
              <a:alpha val="73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sv-SE" sz="1200" dirty="0">
                <a:solidFill>
                  <a:prstClr val="white"/>
                </a:solidFill>
                <a:latin typeface="Pebble"/>
              </a:rPr>
              <a:t>DEMOKRATISKA</a:t>
            </a:r>
            <a:br>
              <a:rPr lang="sv-SE" sz="1200" dirty="0">
                <a:solidFill>
                  <a:prstClr val="white"/>
                </a:solidFill>
                <a:latin typeface="Pebble"/>
              </a:rPr>
            </a:br>
            <a:r>
              <a:rPr lang="sv-SE" sz="1200" dirty="0">
                <a:solidFill>
                  <a:prstClr val="white"/>
                </a:solidFill>
                <a:latin typeface="Pebble"/>
              </a:rPr>
              <a:t>PROCESSEN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28" y="3474018"/>
            <a:ext cx="12141822" cy="2815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54757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/>
          <p:cNvSpPr/>
          <p:nvPr/>
        </p:nvSpPr>
        <p:spPr>
          <a:xfrm>
            <a:off x="8531905" y="1962375"/>
            <a:ext cx="2679849" cy="3967070"/>
          </a:xfrm>
          <a:prstGeom prst="roundRect">
            <a:avLst>
              <a:gd name="adj" fmla="val 671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21" name="Rounded Rectangle 20"/>
          <p:cNvSpPr/>
          <p:nvPr/>
        </p:nvSpPr>
        <p:spPr>
          <a:xfrm>
            <a:off x="4535952" y="1951143"/>
            <a:ext cx="2679849" cy="3967070"/>
          </a:xfrm>
          <a:prstGeom prst="roundRect">
            <a:avLst>
              <a:gd name="adj" fmla="val 671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7" name="Rounded Rectangle 6"/>
          <p:cNvSpPr/>
          <p:nvPr/>
        </p:nvSpPr>
        <p:spPr>
          <a:xfrm>
            <a:off x="561852" y="1962375"/>
            <a:ext cx="2679849" cy="3967070"/>
          </a:xfrm>
          <a:prstGeom prst="roundRect">
            <a:avLst>
              <a:gd name="adj" fmla="val 671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E31D0D-E4FB-4B6F-A6F5-E2D3556CF47D}" type="datetime1">
              <a:rPr lang="sv-SE" smtClean="0">
                <a:solidFill>
                  <a:prstClr val="black"/>
                </a:solidFill>
              </a:rPr>
              <a:pPr/>
              <a:t>2019-03-29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ÄTETS FYSISKA MOTSTÅNDSKRAFT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4921182" y="2180672"/>
            <a:ext cx="180346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ctr">
              <a:defRPr sz="24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sv-SE" dirty="0"/>
              <a:t>ROBUSTHET</a:t>
            </a:r>
            <a:endParaRPr lang="en-US" dirty="0" err="1"/>
          </a:p>
        </p:txBody>
      </p:sp>
      <p:sp>
        <p:nvSpPr>
          <p:cNvPr id="12" name="TextBox 11"/>
          <p:cNvSpPr txBox="1"/>
          <p:nvPr/>
        </p:nvSpPr>
        <p:spPr>
          <a:xfrm>
            <a:off x="9084303" y="2180672"/>
            <a:ext cx="1575051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sv-SE" sz="2400" dirty="0">
                <a:solidFill>
                  <a:schemeClr val="bg1"/>
                </a:solidFill>
                <a:latin typeface="+mj-lt"/>
              </a:rPr>
              <a:t>RESILIENS</a:t>
            </a:r>
            <a:endParaRPr lang="en-US" sz="24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945922" y="2128930"/>
            <a:ext cx="1868004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sv-SE" sz="2400" dirty="0">
                <a:solidFill>
                  <a:schemeClr val="bg1"/>
                </a:solidFill>
                <a:latin typeface="+mj-lt"/>
              </a:rPr>
              <a:t>FYSISK SÄKERHET</a:t>
            </a:r>
            <a:endParaRPr lang="en-US" sz="2400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Cross 18"/>
          <p:cNvSpPr/>
          <p:nvPr/>
        </p:nvSpPr>
        <p:spPr>
          <a:xfrm>
            <a:off x="3517900" y="3574678"/>
            <a:ext cx="720000" cy="720000"/>
          </a:xfrm>
          <a:prstGeom prst="plus">
            <a:avLst>
              <a:gd name="adj" fmla="val 33819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20" name="Cross 19"/>
          <p:cNvSpPr/>
          <p:nvPr/>
        </p:nvSpPr>
        <p:spPr>
          <a:xfrm>
            <a:off x="7460117" y="3574678"/>
            <a:ext cx="720000" cy="720000"/>
          </a:xfrm>
          <a:prstGeom prst="plus">
            <a:avLst>
              <a:gd name="adj" fmla="val 33819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9" name="TextBox 8"/>
          <p:cNvSpPr txBox="1"/>
          <p:nvPr/>
        </p:nvSpPr>
        <p:spPr>
          <a:xfrm>
            <a:off x="717899" y="4977025"/>
            <a:ext cx="219675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  <a:latin typeface="+mj-lt"/>
              </a:rPr>
              <a:t>BERGRU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+mj-lt"/>
              </a:rPr>
              <a:t>PASSER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+mj-lt"/>
              </a:rPr>
              <a:t>BRANDSÄKERHET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1849" y="3019837"/>
            <a:ext cx="2381250" cy="168592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4578727" y="4934469"/>
            <a:ext cx="2637074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+mj-lt"/>
              </a:rPr>
              <a:t>DIVERSITET</a:t>
            </a:r>
            <a:endParaRPr lang="en-US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+mj-lt"/>
              </a:rPr>
              <a:t>KOPPARSTÄNG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solidFill>
                  <a:schemeClr val="bg1"/>
                </a:solidFill>
                <a:latin typeface="+mj-lt"/>
              </a:rPr>
              <a:t>RESERVKRAFT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581469" y="4858269"/>
            <a:ext cx="2637074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>
                <a:solidFill>
                  <a:schemeClr val="bg1"/>
                </a:solidFill>
                <a:latin typeface="+mj-lt"/>
              </a:rPr>
              <a:t>FLYTTBARA BASSTI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SJÄLVORGANISERADE NÄT </a:t>
            </a:r>
            <a:endParaRPr lang="sv-SE" sz="1600" dirty="0">
              <a:solidFill>
                <a:schemeClr val="bg1"/>
              </a:solidFill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+mj-lt"/>
              </a:rPr>
              <a:t>DEVICE-2-DEVICE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6680" y="2768301"/>
            <a:ext cx="2345872" cy="176085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23" r="9297"/>
          <a:stretch/>
        </p:blipFill>
        <p:spPr>
          <a:xfrm>
            <a:off x="4610100" y="2985280"/>
            <a:ext cx="2533650" cy="119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79490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 err="1">
                <a:solidFill>
                  <a:prstClr val="black"/>
                </a:solidFill>
              </a:rPr>
              <a:t>yyyy-mm-dd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Interna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ATIONELL DIVERSITET OCH LOKALT ÖVERLAPP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7150881" y="1709194"/>
            <a:ext cx="3030715" cy="4856399"/>
          </a:xfrm>
          <a:prstGeom prst="rect">
            <a:avLst/>
          </a:prstGeom>
        </p:spPr>
      </p:pic>
      <p:grpSp>
        <p:nvGrpSpPr>
          <p:cNvPr id="14" name="Group 13"/>
          <p:cNvGrpSpPr/>
          <p:nvPr/>
        </p:nvGrpSpPr>
        <p:grpSpPr>
          <a:xfrm>
            <a:off x="2535316" y="1449612"/>
            <a:ext cx="2312496" cy="4972307"/>
            <a:chOff x="6935932" y="105862"/>
            <a:chExt cx="3083328" cy="6629742"/>
          </a:xfrm>
        </p:grpSpPr>
        <p:grpSp>
          <p:nvGrpSpPr>
            <p:cNvPr id="15" name="Group 14"/>
            <p:cNvGrpSpPr/>
            <p:nvPr/>
          </p:nvGrpSpPr>
          <p:grpSpPr>
            <a:xfrm>
              <a:off x="6935932" y="105862"/>
              <a:ext cx="3083328" cy="6629742"/>
              <a:chOff x="4915939" y="-93643"/>
              <a:chExt cx="3083328" cy="6629742"/>
            </a:xfrm>
          </p:grpSpPr>
          <p:pic>
            <p:nvPicPr>
              <p:cNvPr id="34" name="Picture 33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prstClr val="black"/>
                  <a:schemeClr val="tx2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15939" y="-93643"/>
                <a:ext cx="3083328" cy="66297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" name="Oval 34"/>
              <p:cNvSpPr/>
              <p:nvPr/>
            </p:nvSpPr>
            <p:spPr>
              <a:xfrm>
                <a:off x="5061934" y="5172009"/>
                <a:ext cx="133004" cy="168813"/>
              </a:xfrm>
              <a:prstGeom prst="ellipse">
                <a:avLst/>
              </a:prstGeom>
              <a:solidFill>
                <a:srgbClr val="FF000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sv-SE" sz="1350" dirty="0"/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5150427" y="1296784"/>
                <a:ext cx="2472346" cy="5138546"/>
                <a:chOff x="5150427" y="1296784"/>
                <a:chExt cx="2472346" cy="5138546"/>
              </a:xfrm>
            </p:grpSpPr>
            <p:sp>
              <p:nvSpPr>
                <p:cNvPr id="37" name="Freeform 36"/>
                <p:cNvSpPr/>
                <p:nvPr/>
              </p:nvSpPr>
              <p:spPr>
                <a:xfrm>
                  <a:off x="5428211" y="4655127"/>
                  <a:ext cx="1371600" cy="1695797"/>
                </a:xfrm>
                <a:custGeom>
                  <a:avLst/>
                  <a:gdLst>
                    <a:gd name="connsiteX0" fmla="*/ 0 w 1371600"/>
                    <a:gd name="connsiteY0" fmla="*/ 1695797 h 1695797"/>
                    <a:gd name="connsiteX1" fmla="*/ 232756 w 1371600"/>
                    <a:gd name="connsiteY1" fmla="*/ 1205346 h 1695797"/>
                    <a:gd name="connsiteX2" fmla="*/ 290945 w 1371600"/>
                    <a:gd name="connsiteY2" fmla="*/ 881149 h 1695797"/>
                    <a:gd name="connsiteX3" fmla="*/ 440574 w 1371600"/>
                    <a:gd name="connsiteY3" fmla="*/ 573578 h 1695797"/>
                    <a:gd name="connsiteX4" fmla="*/ 665018 w 1371600"/>
                    <a:gd name="connsiteY4" fmla="*/ 390698 h 1695797"/>
                    <a:gd name="connsiteX5" fmla="*/ 781396 w 1371600"/>
                    <a:gd name="connsiteY5" fmla="*/ 232757 h 1695797"/>
                    <a:gd name="connsiteX6" fmla="*/ 1047404 w 1371600"/>
                    <a:gd name="connsiteY6" fmla="*/ 99753 h 1695797"/>
                    <a:gd name="connsiteX7" fmla="*/ 1371600 w 1371600"/>
                    <a:gd name="connsiteY7" fmla="*/ 0 h 169579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371600" h="1695797">
                      <a:moveTo>
                        <a:pt x="0" y="1695797"/>
                      </a:moveTo>
                      <a:lnTo>
                        <a:pt x="232756" y="1205346"/>
                      </a:lnTo>
                      <a:lnTo>
                        <a:pt x="290945" y="881149"/>
                      </a:lnTo>
                      <a:lnTo>
                        <a:pt x="440574" y="573578"/>
                      </a:lnTo>
                      <a:lnTo>
                        <a:pt x="665018" y="390698"/>
                      </a:lnTo>
                      <a:lnTo>
                        <a:pt x="781396" y="232757"/>
                      </a:lnTo>
                      <a:lnTo>
                        <a:pt x="1047404" y="99753"/>
                      </a:lnTo>
                      <a:lnTo>
                        <a:pt x="1371600" y="0"/>
                      </a:lnTo>
                    </a:path>
                  </a:pathLst>
                </a:custGeom>
                <a:noFill/>
                <a:ln>
                  <a:solidFill>
                    <a:srgbClr val="007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38" name="Freeform 37"/>
                <p:cNvSpPr/>
                <p:nvPr/>
              </p:nvSpPr>
              <p:spPr>
                <a:xfrm>
                  <a:off x="5195455" y="4572000"/>
                  <a:ext cx="789709" cy="947651"/>
                </a:xfrm>
                <a:custGeom>
                  <a:avLst/>
                  <a:gdLst>
                    <a:gd name="connsiteX0" fmla="*/ 548640 w 789709"/>
                    <a:gd name="connsiteY0" fmla="*/ 947651 h 947651"/>
                    <a:gd name="connsiteX1" fmla="*/ 0 w 789709"/>
                    <a:gd name="connsiteY1" fmla="*/ 706582 h 947651"/>
                    <a:gd name="connsiteX2" fmla="*/ 191192 w 789709"/>
                    <a:gd name="connsiteY2" fmla="*/ 590204 h 947651"/>
                    <a:gd name="connsiteX3" fmla="*/ 432261 w 789709"/>
                    <a:gd name="connsiteY3" fmla="*/ 415636 h 947651"/>
                    <a:gd name="connsiteX4" fmla="*/ 714894 w 789709"/>
                    <a:gd name="connsiteY4" fmla="*/ 191193 h 947651"/>
                    <a:gd name="connsiteX5" fmla="*/ 789709 w 789709"/>
                    <a:gd name="connsiteY5" fmla="*/ 0 h 94765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89709" h="947651">
                      <a:moveTo>
                        <a:pt x="548640" y="947651"/>
                      </a:moveTo>
                      <a:lnTo>
                        <a:pt x="0" y="706582"/>
                      </a:lnTo>
                      <a:lnTo>
                        <a:pt x="191192" y="590204"/>
                      </a:lnTo>
                      <a:lnTo>
                        <a:pt x="432261" y="415636"/>
                      </a:lnTo>
                      <a:lnTo>
                        <a:pt x="714894" y="191193"/>
                      </a:lnTo>
                      <a:lnTo>
                        <a:pt x="789709" y="0"/>
                      </a:lnTo>
                    </a:path>
                  </a:pathLst>
                </a:cu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7406640" y="1296784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0" name="Oval 39"/>
                <p:cNvSpPr/>
                <p:nvPr/>
              </p:nvSpPr>
              <p:spPr>
                <a:xfrm>
                  <a:off x="5394959" y="5283697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5198226" y="5205259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3" name="Oval 42"/>
                <p:cNvSpPr/>
                <p:nvPr/>
              </p:nvSpPr>
              <p:spPr>
                <a:xfrm>
                  <a:off x="5361709" y="6266517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4" name="Oval 43"/>
                <p:cNvSpPr/>
                <p:nvPr/>
              </p:nvSpPr>
              <p:spPr>
                <a:xfrm>
                  <a:off x="7489769" y="1381191"/>
                  <a:ext cx="133004" cy="16881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5" name="Oval 44"/>
                <p:cNvSpPr/>
                <p:nvPr/>
              </p:nvSpPr>
              <p:spPr>
                <a:xfrm>
                  <a:off x="5150427" y="5006499"/>
                  <a:ext cx="133004" cy="16881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6" name="Oval 45"/>
                <p:cNvSpPr/>
                <p:nvPr/>
              </p:nvSpPr>
              <p:spPr>
                <a:xfrm>
                  <a:off x="6657110" y="4555375"/>
                  <a:ext cx="133004" cy="16881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7" name="Oval 46"/>
                <p:cNvSpPr/>
                <p:nvPr/>
              </p:nvSpPr>
              <p:spPr>
                <a:xfrm>
                  <a:off x="5316335" y="6231986"/>
                  <a:ext cx="133004" cy="16881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0" name="Oval 49"/>
                <p:cNvSpPr/>
                <p:nvPr/>
              </p:nvSpPr>
              <p:spPr>
                <a:xfrm>
                  <a:off x="6492239" y="3808720"/>
                  <a:ext cx="133004" cy="16881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5619406" y="3490066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3" name="Oval 52"/>
                <p:cNvSpPr/>
                <p:nvPr/>
              </p:nvSpPr>
              <p:spPr>
                <a:xfrm>
                  <a:off x="6457603" y="1545894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4" name="Freeform 53"/>
                <p:cNvSpPr/>
                <p:nvPr/>
              </p:nvSpPr>
              <p:spPr>
                <a:xfrm>
                  <a:off x="6575367" y="1679171"/>
                  <a:ext cx="565266" cy="548640"/>
                </a:xfrm>
                <a:custGeom>
                  <a:avLst/>
                  <a:gdLst>
                    <a:gd name="connsiteX0" fmla="*/ 0 w 565266"/>
                    <a:gd name="connsiteY0" fmla="*/ 0 h 548640"/>
                    <a:gd name="connsiteX1" fmla="*/ 565266 w 565266"/>
                    <a:gd name="connsiteY1" fmla="*/ 548640 h 54864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565266" h="548640">
                      <a:moveTo>
                        <a:pt x="0" y="0"/>
                      </a:moveTo>
                      <a:lnTo>
                        <a:pt x="565266" y="548640"/>
                      </a:lnTo>
                    </a:path>
                  </a:pathLst>
                </a:cu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5" name="Freeform 54"/>
                <p:cNvSpPr/>
                <p:nvPr/>
              </p:nvSpPr>
              <p:spPr>
                <a:xfrm>
                  <a:off x="6001789" y="2867891"/>
                  <a:ext cx="490451" cy="166254"/>
                </a:xfrm>
                <a:custGeom>
                  <a:avLst/>
                  <a:gdLst>
                    <a:gd name="connsiteX0" fmla="*/ 0 w 490451"/>
                    <a:gd name="connsiteY0" fmla="*/ 0 h 166254"/>
                    <a:gd name="connsiteX1" fmla="*/ 490451 w 490451"/>
                    <a:gd name="connsiteY1" fmla="*/ 166254 h 166254"/>
                    <a:gd name="connsiteX2" fmla="*/ 490451 w 490451"/>
                    <a:gd name="connsiteY2" fmla="*/ 166254 h 1662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90451" h="166254">
                      <a:moveTo>
                        <a:pt x="0" y="0"/>
                      </a:moveTo>
                      <a:lnTo>
                        <a:pt x="490451" y="166254"/>
                      </a:lnTo>
                      <a:lnTo>
                        <a:pt x="490451" y="166254"/>
                      </a:lnTo>
                    </a:path>
                  </a:pathLst>
                </a:cu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6" name="Freeform 55"/>
                <p:cNvSpPr/>
                <p:nvPr/>
              </p:nvSpPr>
              <p:spPr>
                <a:xfrm>
                  <a:off x="5744095" y="3616036"/>
                  <a:ext cx="748145" cy="241069"/>
                </a:xfrm>
                <a:custGeom>
                  <a:avLst/>
                  <a:gdLst>
                    <a:gd name="connsiteX0" fmla="*/ 0 w 748145"/>
                    <a:gd name="connsiteY0" fmla="*/ 0 h 241069"/>
                    <a:gd name="connsiteX1" fmla="*/ 357447 w 748145"/>
                    <a:gd name="connsiteY1" fmla="*/ 24939 h 241069"/>
                    <a:gd name="connsiteX2" fmla="*/ 748145 w 748145"/>
                    <a:gd name="connsiteY2" fmla="*/ 241069 h 241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748145" h="241069">
                      <a:moveTo>
                        <a:pt x="0" y="0"/>
                      </a:moveTo>
                      <a:lnTo>
                        <a:pt x="357447" y="24939"/>
                      </a:lnTo>
                      <a:lnTo>
                        <a:pt x="748145" y="241069"/>
                      </a:lnTo>
                    </a:path>
                  </a:pathLst>
                </a:custGeom>
                <a:noFill/>
                <a:ln>
                  <a:solidFill>
                    <a:srgbClr val="00B05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7" name="Oval 56"/>
                <p:cNvSpPr/>
                <p:nvPr/>
              </p:nvSpPr>
              <p:spPr>
                <a:xfrm>
                  <a:off x="5677593" y="5418618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8" name="Oval 57"/>
                <p:cNvSpPr/>
                <p:nvPr/>
              </p:nvSpPr>
              <p:spPr>
                <a:xfrm>
                  <a:off x="6858000" y="5350838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9" name="Oval 58"/>
                <p:cNvSpPr/>
                <p:nvPr/>
              </p:nvSpPr>
              <p:spPr>
                <a:xfrm>
                  <a:off x="6768811" y="5384088"/>
                  <a:ext cx="133004" cy="16881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60" name="Freeform 59"/>
                <p:cNvSpPr/>
                <p:nvPr/>
              </p:nvSpPr>
              <p:spPr>
                <a:xfrm>
                  <a:off x="6683433" y="4705004"/>
                  <a:ext cx="141316" cy="698269"/>
                </a:xfrm>
                <a:custGeom>
                  <a:avLst/>
                  <a:gdLst>
                    <a:gd name="connsiteX0" fmla="*/ 0 w 141316"/>
                    <a:gd name="connsiteY0" fmla="*/ 0 h 698269"/>
                    <a:gd name="connsiteX1" fmla="*/ 141316 w 141316"/>
                    <a:gd name="connsiteY1" fmla="*/ 698269 h 6982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41316" h="698269">
                      <a:moveTo>
                        <a:pt x="0" y="0"/>
                      </a:moveTo>
                      <a:lnTo>
                        <a:pt x="141316" y="698269"/>
                      </a:lnTo>
                    </a:path>
                  </a:pathLst>
                </a:custGeom>
                <a:noFill/>
                <a:ln>
                  <a:solidFill>
                    <a:srgbClr val="FF00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9" name="Oval 48"/>
                <p:cNvSpPr/>
                <p:nvPr/>
              </p:nvSpPr>
              <p:spPr>
                <a:xfrm>
                  <a:off x="5848003" y="2775172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6730539" y="4637222"/>
                  <a:ext cx="133004" cy="168813"/>
                </a:xfrm>
                <a:prstGeom prst="ellipse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48" name="Oval 47"/>
                <p:cNvSpPr/>
                <p:nvPr/>
              </p:nvSpPr>
              <p:spPr>
                <a:xfrm>
                  <a:off x="6458990" y="2962102"/>
                  <a:ext cx="133004" cy="16881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  <p:sp>
              <p:nvSpPr>
                <p:cNvPr id="51" name="Oval 50"/>
                <p:cNvSpPr/>
                <p:nvPr/>
              </p:nvSpPr>
              <p:spPr>
                <a:xfrm>
                  <a:off x="7112925" y="2194560"/>
                  <a:ext cx="133004" cy="168813"/>
                </a:xfrm>
                <a:prstGeom prst="ellipse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sv-SE" sz="1350" dirty="0"/>
                </a:p>
              </p:txBody>
            </p:sp>
          </p:grpSp>
        </p:grpSp>
        <p:sp>
          <p:nvSpPr>
            <p:cNvPr id="16" name="Freeform 15"/>
            <p:cNvSpPr/>
            <p:nvPr/>
          </p:nvSpPr>
          <p:spPr>
            <a:xfrm>
              <a:off x="7672647" y="1537855"/>
              <a:ext cx="1753986" cy="3233650"/>
            </a:xfrm>
            <a:custGeom>
              <a:avLst/>
              <a:gdLst>
                <a:gd name="connsiteX0" fmla="*/ 1753986 w 1753986"/>
                <a:gd name="connsiteY0" fmla="*/ 0 h 3233650"/>
                <a:gd name="connsiteX1" fmla="*/ 856211 w 1753986"/>
                <a:gd name="connsiteY1" fmla="*/ 207818 h 3233650"/>
                <a:gd name="connsiteX2" fmla="*/ 257695 w 1753986"/>
                <a:gd name="connsiteY2" fmla="*/ 1471352 h 3233650"/>
                <a:gd name="connsiteX3" fmla="*/ 0 w 1753986"/>
                <a:gd name="connsiteY3" fmla="*/ 2202872 h 3233650"/>
                <a:gd name="connsiteX4" fmla="*/ 340822 w 1753986"/>
                <a:gd name="connsiteY4" fmla="*/ 3233650 h 323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3986" h="3233650">
                  <a:moveTo>
                    <a:pt x="1753986" y="0"/>
                  </a:moveTo>
                  <a:lnTo>
                    <a:pt x="856211" y="207818"/>
                  </a:lnTo>
                  <a:lnTo>
                    <a:pt x="257695" y="1471352"/>
                  </a:lnTo>
                  <a:lnTo>
                    <a:pt x="0" y="2202872"/>
                  </a:lnTo>
                  <a:lnTo>
                    <a:pt x="340822" y="3233650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18" name="Freeform 17"/>
            <p:cNvSpPr/>
            <p:nvPr/>
          </p:nvSpPr>
          <p:spPr>
            <a:xfrm>
              <a:off x="7115695" y="4646815"/>
              <a:ext cx="1587730" cy="1803861"/>
            </a:xfrm>
            <a:custGeom>
              <a:avLst/>
              <a:gdLst>
                <a:gd name="connsiteX0" fmla="*/ 257694 w 1587730"/>
                <a:gd name="connsiteY0" fmla="*/ 1803861 h 1803861"/>
                <a:gd name="connsiteX1" fmla="*/ 0 w 1587730"/>
                <a:gd name="connsiteY1" fmla="*/ 739832 h 1803861"/>
                <a:gd name="connsiteX2" fmla="*/ 673330 w 1587730"/>
                <a:gd name="connsiteY2" fmla="*/ 58189 h 1803861"/>
                <a:gd name="connsiteX3" fmla="*/ 939338 w 1587730"/>
                <a:gd name="connsiteY3" fmla="*/ 0 h 1803861"/>
                <a:gd name="connsiteX4" fmla="*/ 1587730 w 1587730"/>
                <a:gd name="connsiteY4" fmla="*/ 149629 h 18038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7730" h="1803861">
                  <a:moveTo>
                    <a:pt x="257694" y="1803861"/>
                  </a:moveTo>
                  <a:lnTo>
                    <a:pt x="0" y="739832"/>
                  </a:lnTo>
                  <a:lnTo>
                    <a:pt x="673330" y="58189"/>
                  </a:lnTo>
                  <a:lnTo>
                    <a:pt x="939338" y="0"/>
                  </a:lnTo>
                  <a:lnTo>
                    <a:pt x="1587730" y="149629"/>
                  </a:ln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19" name="Oval 18"/>
            <p:cNvSpPr/>
            <p:nvPr/>
          </p:nvSpPr>
          <p:spPr>
            <a:xfrm>
              <a:off x="8215054" y="5878377"/>
              <a:ext cx="133004" cy="16881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0" name="Oval 19"/>
            <p:cNvSpPr/>
            <p:nvPr/>
          </p:nvSpPr>
          <p:spPr>
            <a:xfrm>
              <a:off x="8166562" y="5005540"/>
              <a:ext cx="133004" cy="16881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7822276" y="5727469"/>
              <a:ext cx="390699" cy="199506"/>
            </a:xfrm>
            <a:custGeom>
              <a:avLst/>
              <a:gdLst>
                <a:gd name="connsiteX0" fmla="*/ 390699 w 390699"/>
                <a:gd name="connsiteY0" fmla="*/ 199506 h 199506"/>
                <a:gd name="connsiteX1" fmla="*/ 0 w 390699"/>
                <a:gd name="connsiteY1" fmla="*/ 0 h 19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90699" h="199506">
                  <a:moveTo>
                    <a:pt x="390699" y="199506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2" name="Freeform 21"/>
            <p:cNvSpPr/>
            <p:nvPr/>
          </p:nvSpPr>
          <p:spPr>
            <a:xfrm>
              <a:off x="7464829" y="1720735"/>
              <a:ext cx="2078182" cy="4804756"/>
            </a:xfrm>
            <a:custGeom>
              <a:avLst/>
              <a:gdLst>
                <a:gd name="connsiteX0" fmla="*/ 0 w 2078182"/>
                <a:gd name="connsiteY0" fmla="*/ 4804756 h 4804756"/>
                <a:gd name="connsiteX1" fmla="*/ 299258 w 2078182"/>
                <a:gd name="connsiteY1" fmla="*/ 4779818 h 4804756"/>
                <a:gd name="connsiteX2" fmla="*/ 365760 w 2078182"/>
                <a:gd name="connsiteY2" fmla="*/ 4588625 h 4804756"/>
                <a:gd name="connsiteX3" fmla="*/ 598516 w 2078182"/>
                <a:gd name="connsiteY3" fmla="*/ 4555374 h 4804756"/>
                <a:gd name="connsiteX4" fmla="*/ 798022 w 2078182"/>
                <a:gd name="connsiteY4" fmla="*/ 4305992 h 4804756"/>
                <a:gd name="connsiteX5" fmla="*/ 847898 w 2078182"/>
                <a:gd name="connsiteY5" fmla="*/ 3466407 h 4804756"/>
                <a:gd name="connsiteX6" fmla="*/ 1246909 w 2078182"/>
                <a:gd name="connsiteY6" fmla="*/ 3150523 h 4804756"/>
                <a:gd name="connsiteX7" fmla="*/ 1330036 w 2078182"/>
                <a:gd name="connsiteY7" fmla="*/ 3000894 h 4804756"/>
                <a:gd name="connsiteX8" fmla="*/ 1379913 w 2078182"/>
                <a:gd name="connsiteY8" fmla="*/ 2793076 h 4804756"/>
                <a:gd name="connsiteX9" fmla="*/ 1122218 w 2078182"/>
                <a:gd name="connsiteY9" fmla="*/ 2419003 h 4804756"/>
                <a:gd name="connsiteX10" fmla="*/ 1064029 w 2078182"/>
                <a:gd name="connsiteY10" fmla="*/ 1596043 h 4804756"/>
                <a:gd name="connsiteX11" fmla="*/ 1720735 w 2078182"/>
                <a:gd name="connsiteY11" fmla="*/ 839585 h 4804756"/>
                <a:gd name="connsiteX12" fmla="*/ 2078182 w 2078182"/>
                <a:gd name="connsiteY12" fmla="*/ 0 h 4804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078182" h="4804756">
                  <a:moveTo>
                    <a:pt x="0" y="4804756"/>
                  </a:moveTo>
                  <a:lnTo>
                    <a:pt x="299258" y="4779818"/>
                  </a:lnTo>
                  <a:lnTo>
                    <a:pt x="365760" y="4588625"/>
                  </a:lnTo>
                  <a:lnTo>
                    <a:pt x="598516" y="4555374"/>
                  </a:lnTo>
                  <a:lnTo>
                    <a:pt x="798022" y="4305992"/>
                  </a:lnTo>
                  <a:lnTo>
                    <a:pt x="847898" y="3466407"/>
                  </a:lnTo>
                  <a:lnTo>
                    <a:pt x="1246909" y="3150523"/>
                  </a:lnTo>
                  <a:lnTo>
                    <a:pt x="1330036" y="3000894"/>
                  </a:lnTo>
                  <a:lnTo>
                    <a:pt x="1379913" y="2793076"/>
                  </a:lnTo>
                  <a:lnTo>
                    <a:pt x="1122218" y="2419003"/>
                  </a:lnTo>
                  <a:lnTo>
                    <a:pt x="1064029" y="1596043"/>
                  </a:lnTo>
                  <a:lnTo>
                    <a:pt x="1720735" y="839585"/>
                  </a:lnTo>
                  <a:lnTo>
                    <a:pt x="2078182" y="0"/>
                  </a:ln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3" name="Oval 22"/>
            <p:cNvSpPr/>
            <p:nvPr/>
          </p:nvSpPr>
          <p:spPr>
            <a:xfrm>
              <a:off x="8282940" y="5080354"/>
              <a:ext cx="133004" cy="16881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4" name="Freeform 23"/>
            <p:cNvSpPr/>
            <p:nvPr/>
          </p:nvSpPr>
          <p:spPr>
            <a:xfrm rot="612689">
              <a:off x="7728891" y="4776231"/>
              <a:ext cx="248751" cy="60959"/>
            </a:xfrm>
            <a:custGeom>
              <a:avLst/>
              <a:gdLst>
                <a:gd name="connsiteX0" fmla="*/ 108065 w 108065"/>
                <a:gd name="connsiteY0" fmla="*/ 0 h 0"/>
                <a:gd name="connsiteX1" fmla="*/ 0 w 108065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8065">
                  <a:moveTo>
                    <a:pt x="108065" y="0"/>
                  </a:moveTo>
                  <a:lnTo>
                    <a:pt x="0" y="0"/>
                  </a:lnTo>
                </a:path>
              </a:pathLst>
            </a:cu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5" name="Oval 24"/>
            <p:cNvSpPr/>
            <p:nvPr/>
          </p:nvSpPr>
          <p:spPr>
            <a:xfrm>
              <a:off x="8725575" y="4447628"/>
              <a:ext cx="133004" cy="168813"/>
            </a:xfrm>
            <a:prstGeom prst="ellipse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7" name="Freeform 26"/>
            <p:cNvSpPr/>
            <p:nvPr/>
          </p:nvSpPr>
          <p:spPr>
            <a:xfrm>
              <a:off x="8329355" y="4852711"/>
              <a:ext cx="405309" cy="60959"/>
            </a:xfrm>
            <a:custGeom>
              <a:avLst/>
              <a:gdLst>
                <a:gd name="connsiteX0" fmla="*/ 0 w 714895"/>
                <a:gd name="connsiteY0" fmla="*/ 0 h 116379"/>
                <a:gd name="connsiteX1" fmla="*/ 174567 w 714895"/>
                <a:gd name="connsiteY1" fmla="*/ 33251 h 116379"/>
                <a:gd name="connsiteX2" fmla="*/ 714895 w 714895"/>
                <a:gd name="connsiteY2" fmla="*/ 116379 h 116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4895" h="116379">
                  <a:moveTo>
                    <a:pt x="0" y="0"/>
                  </a:moveTo>
                  <a:lnTo>
                    <a:pt x="174567" y="33251"/>
                  </a:lnTo>
                  <a:lnTo>
                    <a:pt x="714895" y="116379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8" name="Freeform 27"/>
            <p:cNvSpPr/>
            <p:nvPr/>
          </p:nvSpPr>
          <p:spPr>
            <a:xfrm>
              <a:off x="7797338" y="4505498"/>
              <a:ext cx="922713" cy="199506"/>
            </a:xfrm>
            <a:custGeom>
              <a:avLst/>
              <a:gdLst>
                <a:gd name="connsiteX0" fmla="*/ 922713 w 922713"/>
                <a:gd name="connsiteY0" fmla="*/ 0 h 199506"/>
                <a:gd name="connsiteX1" fmla="*/ 33251 w 922713"/>
                <a:gd name="connsiteY1" fmla="*/ 0 h 199506"/>
                <a:gd name="connsiteX2" fmla="*/ 0 w 922713"/>
                <a:gd name="connsiteY2" fmla="*/ 199506 h 1995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22713" h="199506">
                  <a:moveTo>
                    <a:pt x="922713" y="0"/>
                  </a:moveTo>
                  <a:lnTo>
                    <a:pt x="33251" y="0"/>
                  </a:lnTo>
                  <a:lnTo>
                    <a:pt x="0" y="199506"/>
                  </a:ln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8262851" y="4896196"/>
              <a:ext cx="66502" cy="116379"/>
            </a:xfrm>
            <a:custGeom>
              <a:avLst/>
              <a:gdLst>
                <a:gd name="connsiteX0" fmla="*/ 0 w 66502"/>
                <a:gd name="connsiteY0" fmla="*/ 116379 h 116379"/>
                <a:gd name="connsiteX1" fmla="*/ 66502 w 66502"/>
                <a:gd name="connsiteY1" fmla="*/ 0 h 116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6502" h="116379">
                  <a:moveTo>
                    <a:pt x="0" y="116379"/>
                  </a:moveTo>
                  <a:lnTo>
                    <a:pt x="66502" y="0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30" name="Freeform 29"/>
            <p:cNvSpPr/>
            <p:nvPr/>
          </p:nvSpPr>
          <p:spPr>
            <a:xfrm>
              <a:off x="7439891" y="4813069"/>
              <a:ext cx="1313411" cy="1612669"/>
            </a:xfrm>
            <a:custGeom>
              <a:avLst/>
              <a:gdLst>
                <a:gd name="connsiteX0" fmla="*/ 0 w 1313411"/>
                <a:gd name="connsiteY0" fmla="*/ 1612669 h 1612669"/>
                <a:gd name="connsiteX1" fmla="*/ 83127 w 1313411"/>
                <a:gd name="connsiteY1" fmla="*/ 1180407 h 1612669"/>
                <a:gd name="connsiteX2" fmla="*/ 706582 w 1313411"/>
                <a:gd name="connsiteY2" fmla="*/ 731520 h 1612669"/>
                <a:gd name="connsiteX3" fmla="*/ 989214 w 1313411"/>
                <a:gd name="connsiteY3" fmla="*/ 515389 h 1612669"/>
                <a:gd name="connsiteX4" fmla="*/ 1313411 w 1313411"/>
                <a:gd name="connsiteY4" fmla="*/ 0 h 16126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13411" h="1612669">
                  <a:moveTo>
                    <a:pt x="0" y="1612669"/>
                  </a:moveTo>
                  <a:lnTo>
                    <a:pt x="83127" y="1180407"/>
                  </a:lnTo>
                  <a:lnTo>
                    <a:pt x="706582" y="731520"/>
                  </a:lnTo>
                  <a:lnTo>
                    <a:pt x="989214" y="515389"/>
                  </a:lnTo>
                  <a:lnTo>
                    <a:pt x="1313411" y="0"/>
                  </a:lnTo>
                </a:path>
              </a:pathLst>
            </a:custGeom>
            <a:noFill/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31" name="Freeform 30"/>
            <p:cNvSpPr/>
            <p:nvPr/>
          </p:nvSpPr>
          <p:spPr>
            <a:xfrm>
              <a:off x="7514705" y="4979327"/>
              <a:ext cx="1274099" cy="1521227"/>
            </a:xfrm>
            <a:custGeom>
              <a:avLst/>
              <a:gdLst>
                <a:gd name="connsiteX0" fmla="*/ 0 w 1330037"/>
                <a:gd name="connsiteY0" fmla="*/ 1596044 h 1596044"/>
                <a:gd name="connsiteX1" fmla="*/ 415637 w 1330037"/>
                <a:gd name="connsiteY1" fmla="*/ 1105593 h 1596044"/>
                <a:gd name="connsiteX2" fmla="*/ 806335 w 1330037"/>
                <a:gd name="connsiteY2" fmla="*/ 706582 h 1596044"/>
                <a:gd name="connsiteX3" fmla="*/ 1330037 w 1330037"/>
                <a:gd name="connsiteY3" fmla="*/ 0 h 1596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30037" h="1596044">
                  <a:moveTo>
                    <a:pt x="0" y="1596044"/>
                  </a:moveTo>
                  <a:lnTo>
                    <a:pt x="415637" y="1105593"/>
                  </a:lnTo>
                  <a:lnTo>
                    <a:pt x="806335" y="706582"/>
                  </a:lnTo>
                  <a:lnTo>
                    <a:pt x="1330037" y="0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32" name="Freeform 31"/>
            <p:cNvSpPr/>
            <p:nvPr/>
          </p:nvSpPr>
          <p:spPr>
            <a:xfrm>
              <a:off x="8869680" y="4971011"/>
              <a:ext cx="182880" cy="615142"/>
            </a:xfrm>
            <a:custGeom>
              <a:avLst/>
              <a:gdLst>
                <a:gd name="connsiteX0" fmla="*/ 0 w 182880"/>
                <a:gd name="connsiteY0" fmla="*/ 0 h 615142"/>
                <a:gd name="connsiteX1" fmla="*/ 182880 w 182880"/>
                <a:gd name="connsiteY1" fmla="*/ 249382 h 615142"/>
                <a:gd name="connsiteX2" fmla="*/ 182880 w 182880"/>
                <a:gd name="connsiteY2" fmla="*/ 523702 h 615142"/>
                <a:gd name="connsiteX3" fmla="*/ 108065 w 182880"/>
                <a:gd name="connsiteY3" fmla="*/ 615142 h 615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" h="615142">
                  <a:moveTo>
                    <a:pt x="0" y="0"/>
                  </a:moveTo>
                  <a:lnTo>
                    <a:pt x="182880" y="249382"/>
                  </a:lnTo>
                  <a:lnTo>
                    <a:pt x="182880" y="523702"/>
                  </a:lnTo>
                  <a:lnTo>
                    <a:pt x="108065" y="615142"/>
                  </a:lnTo>
                </a:path>
              </a:pathLst>
            </a:cu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7298575" y="5278582"/>
              <a:ext cx="207818" cy="199505"/>
            </a:xfrm>
            <a:custGeom>
              <a:avLst/>
              <a:gdLst>
                <a:gd name="connsiteX0" fmla="*/ 0 w 207818"/>
                <a:gd name="connsiteY0" fmla="*/ 0 h 199505"/>
                <a:gd name="connsiteX1" fmla="*/ 207818 w 207818"/>
                <a:gd name="connsiteY1" fmla="*/ 149629 h 199505"/>
                <a:gd name="connsiteX2" fmla="*/ 207818 w 207818"/>
                <a:gd name="connsiteY2" fmla="*/ 199505 h 199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7818" h="199505">
                  <a:moveTo>
                    <a:pt x="0" y="0"/>
                  </a:moveTo>
                  <a:lnTo>
                    <a:pt x="207818" y="149629"/>
                  </a:lnTo>
                  <a:lnTo>
                    <a:pt x="207818" y="199505"/>
                  </a:lnTo>
                </a:path>
              </a:pathLst>
            </a:custGeom>
            <a:noFill/>
            <a:ln>
              <a:solidFill>
                <a:srgbClr val="92D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  <p:sp>
          <p:nvSpPr>
            <p:cNvPr id="26" name="Oval 25"/>
            <p:cNvSpPr/>
            <p:nvPr/>
          </p:nvSpPr>
          <p:spPr>
            <a:xfrm>
              <a:off x="8277462" y="4761912"/>
              <a:ext cx="133004" cy="16881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1350" dirty="0"/>
            </a:p>
          </p:txBody>
        </p:sp>
      </p:grpSp>
    </p:spTree>
    <p:extLst>
      <p:ext uri="{BB962C8B-B14F-4D97-AF65-F5344CB8AC3E}">
        <p14:creationId xmlns:p14="http://schemas.microsoft.com/office/powerpoint/2010/main" val="272386014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18">
            <a:extLst>
              <a:ext uri="{FF2B5EF4-FFF2-40B4-BE49-F238E27FC236}">
                <a16:creationId xmlns:a16="http://schemas.microsoft.com/office/drawing/2014/main" id="{0DBEE38B-AD4F-4500-9A24-91AA92DE5125}"/>
              </a:ext>
            </a:extLst>
          </p:cNvPr>
          <p:cNvSpPr/>
          <p:nvPr/>
        </p:nvSpPr>
        <p:spPr>
          <a:xfrm>
            <a:off x="4352284" y="1488748"/>
            <a:ext cx="3113262" cy="4413974"/>
          </a:xfrm>
          <a:prstGeom prst="roundRect">
            <a:avLst>
              <a:gd name="adj" fmla="val 671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24" name="Rounded Rectangle 18">
            <a:extLst>
              <a:ext uri="{FF2B5EF4-FFF2-40B4-BE49-F238E27FC236}">
                <a16:creationId xmlns:a16="http://schemas.microsoft.com/office/drawing/2014/main" id="{06827C34-ECE4-4392-AFDB-6CC77B0D99E3}"/>
              </a:ext>
            </a:extLst>
          </p:cNvPr>
          <p:cNvSpPr/>
          <p:nvPr/>
        </p:nvSpPr>
        <p:spPr>
          <a:xfrm>
            <a:off x="7997741" y="1488748"/>
            <a:ext cx="3113262" cy="4413974"/>
          </a:xfrm>
          <a:prstGeom prst="roundRect">
            <a:avLst>
              <a:gd name="adj" fmla="val 671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19" name="Rounded Rectangle 18"/>
          <p:cNvSpPr/>
          <p:nvPr/>
        </p:nvSpPr>
        <p:spPr>
          <a:xfrm>
            <a:off x="706828" y="1488748"/>
            <a:ext cx="3113262" cy="4413974"/>
          </a:xfrm>
          <a:prstGeom prst="roundRect">
            <a:avLst>
              <a:gd name="adj" fmla="val 671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andardhantering vid kris/</a:t>
            </a:r>
            <a:r>
              <a:rPr lang="sv-SE" dirty="0" err="1"/>
              <a:t>InCIDENT</a:t>
            </a:r>
            <a:endParaRPr lang="en-US" dirty="0"/>
          </a:p>
        </p:txBody>
      </p:sp>
      <p:grpSp>
        <p:nvGrpSpPr>
          <p:cNvPr id="17" name="Group 16"/>
          <p:cNvGrpSpPr/>
          <p:nvPr/>
        </p:nvGrpSpPr>
        <p:grpSpPr>
          <a:xfrm>
            <a:off x="4336306" y="3563746"/>
            <a:ext cx="3120186" cy="2268737"/>
            <a:chOff x="7242238" y="2692235"/>
            <a:chExt cx="2774593" cy="2014362"/>
          </a:xfrm>
        </p:grpSpPr>
        <p:sp>
          <p:nvSpPr>
            <p:cNvPr id="15" name="TextBox 14"/>
            <p:cNvSpPr txBox="1"/>
            <p:nvPr/>
          </p:nvSpPr>
          <p:spPr>
            <a:xfrm>
              <a:off x="7242238" y="2692235"/>
              <a:ext cx="2635284" cy="5465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sv-SE" sz="2000" dirty="0">
                  <a:solidFill>
                    <a:schemeClr val="bg1"/>
                  </a:solidFill>
                  <a:latin typeface="+mj-lt"/>
                </a:rPr>
                <a:t>2. ESKALERA och analysera</a:t>
              </a:r>
              <a:endParaRPr lang="en-US" sz="2000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7467102" y="3394910"/>
              <a:ext cx="2549729" cy="13116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E</a:t>
              </a:r>
              <a:r>
                <a:rPr lang="en-US" sz="1600" dirty="0" err="1">
                  <a:solidFill>
                    <a:schemeClr val="bg1"/>
                  </a:solidFill>
                  <a:latin typeface="+mj-lt"/>
                </a:rPr>
                <a:t>skaleringsnivå</a:t>
              </a:r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 beroende på omfattning och påverka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sv-SE" sz="1600" dirty="0" err="1">
                  <a:solidFill>
                    <a:schemeClr val="bg1"/>
                  </a:solidFill>
                  <a:latin typeface="+mj-lt"/>
                </a:rPr>
                <a:t>Agilt</a:t>
              </a:r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 arbete med rätt kompetens</a:t>
              </a:r>
              <a:endParaRPr lang="en-US" sz="1600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110092" y="3562162"/>
            <a:ext cx="2888555" cy="1710527"/>
            <a:chOff x="8184469" y="3804173"/>
            <a:chExt cx="2575450" cy="1525115"/>
          </a:xfrm>
        </p:grpSpPr>
        <p:sp>
          <p:nvSpPr>
            <p:cNvPr id="12" name="TextBox 11"/>
            <p:cNvSpPr txBox="1"/>
            <p:nvPr/>
          </p:nvSpPr>
          <p:spPr>
            <a:xfrm>
              <a:off x="8488071" y="3804173"/>
              <a:ext cx="1968249" cy="54883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sv-SE" sz="2000" dirty="0">
                  <a:solidFill>
                    <a:schemeClr val="bg1"/>
                  </a:solidFill>
                  <a:latin typeface="+mj-lt"/>
                </a:rPr>
                <a:t>3. Återställa funktion</a:t>
              </a:r>
              <a:endParaRPr lang="en-US" sz="2000" dirty="0" err="1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184469" y="4423717"/>
              <a:ext cx="2575450" cy="9055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85750" indent="-285750">
                <a:buFont typeface="Arial" charset="0"/>
                <a:buChar char="•"/>
              </a:pPr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Rätt åtgärd på rätt tid</a:t>
              </a:r>
            </a:p>
            <a:p>
              <a:pPr marL="285750" indent="-285750">
                <a:buFont typeface="Arial" charset="0"/>
                <a:buChar char="•"/>
              </a:pPr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Säkerställa funktion på kort och lång sikt</a:t>
              </a:r>
            </a:p>
            <a:p>
              <a:pPr marL="285750" indent="-285750">
                <a:buFont typeface="Arial" charset="0"/>
                <a:buChar char="•"/>
              </a:pPr>
              <a:endParaRPr lang="sv-SE" dirty="0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73458" y="2017725"/>
            <a:ext cx="2980002" cy="3866894"/>
            <a:chOff x="4515148" y="2190274"/>
            <a:chExt cx="2980002" cy="3866894"/>
          </a:xfrm>
        </p:grpSpPr>
        <p:sp>
          <p:nvSpPr>
            <p:cNvPr id="8" name="TextBox 7"/>
            <p:cNvSpPr txBox="1"/>
            <p:nvPr/>
          </p:nvSpPr>
          <p:spPr>
            <a:xfrm>
              <a:off x="4515148" y="3736292"/>
              <a:ext cx="2980002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en-US"/>
              </a:defPPr>
              <a:lvl1pPr algn="ctr">
                <a:defRPr sz="2400">
                  <a:solidFill>
                    <a:schemeClr val="bg1"/>
                  </a:solidFill>
                  <a:latin typeface="+mj-lt"/>
                </a:defRPr>
              </a:lvl1pPr>
            </a:lstStyle>
            <a:p>
              <a:r>
                <a:rPr lang="sv-SE" sz="2000" dirty="0"/>
                <a:t>1. Identifiera, logga och prioritera </a:t>
              </a:r>
              <a:endParaRPr lang="en-US" sz="2000" dirty="0" err="1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4758153" y="4579840"/>
              <a:ext cx="2679849" cy="147732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Prioritering utifrån fastställda kriteri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Samhällskritisk verksamhet</a:t>
              </a:r>
              <a:endParaRPr lang="sv-SE" sz="1600" dirty="0">
                <a:solidFill>
                  <a:sysClr val="windowText" lastClr="000000"/>
                </a:solidFill>
                <a:latin typeface="+mj-lt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Mobilt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sv-SE" sz="1600" dirty="0">
                  <a:solidFill>
                    <a:schemeClr val="bg1"/>
                  </a:solidFill>
                  <a:latin typeface="+mj-lt"/>
                </a:rPr>
                <a:t>Antal kunder</a:t>
              </a:r>
            </a:p>
          </p:txBody>
        </p:sp>
        <p:sp>
          <p:nvSpPr>
            <p:cNvPr id="11" name="Freeform 10"/>
            <p:cNvSpPr/>
            <p:nvPr/>
          </p:nvSpPr>
          <p:spPr>
            <a:xfrm>
              <a:off x="5113308" y="2190274"/>
              <a:ext cx="1714603" cy="393700"/>
            </a:xfrm>
            <a:custGeom>
              <a:avLst/>
              <a:gdLst>
                <a:gd name="connsiteX0" fmla="*/ 0 w 1714603"/>
                <a:gd name="connsiteY0" fmla="*/ 254000 h 393700"/>
                <a:gd name="connsiteX1" fmla="*/ 0 w 1714603"/>
                <a:gd name="connsiteY1" fmla="*/ 254000 h 393700"/>
                <a:gd name="connsiteX2" fmla="*/ 787400 w 1714603"/>
                <a:gd name="connsiteY2" fmla="*/ 292100 h 393700"/>
                <a:gd name="connsiteX3" fmla="*/ 889000 w 1714603"/>
                <a:gd name="connsiteY3" fmla="*/ 304800 h 393700"/>
                <a:gd name="connsiteX4" fmla="*/ 1320800 w 1714603"/>
                <a:gd name="connsiteY4" fmla="*/ 292100 h 393700"/>
                <a:gd name="connsiteX5" fmla="*/ 1346200 w 1714603"/>
                <a:gd name="connsiteY5" fmla="*/ 254000 h 393700"/>
                <a:gd name="connsiteX6" fmla="*/ 1384300 w 1714603"/>
                <a:gd name="connsiteY6" fmla="*/ 228600 h 393700"/>
                <a:gd name="connsiteX7" fmla="*/ 1397000 w 1714603"/>
                <a:gd name="connsiteY7" fmla="*/ 190500 h 393700"/>
                <a:gd name="connsiteX8" fmla="*/ 1397000 w 1714603"/>
                <a:gd name="connsiteY8" fmla="*/ 101600 h 393700"/>
                <a:gd name="connsiteX9" fmla="*/ 1460500 w 1714603"/>
                <a:gd name="connsiteY9" fmla="*/ 76200 h 393700"/>
                <a:gd name="connsiteX10" fmla="*/ 1498600 w 1714603"/>
                <a:gd name="connsiteY10" fmla="*/ 50800 h 393700"/>
                <a:gd name="connsiteX11" fmla="*/ 1536700 w 1714603"/>
                <a:gd name="connsiteY11" fmla="*/ 38100 h 393700"/>
                <a:gd name="connsiteX12" fmla="*/ 1574800 w 1714603"/>
                <a:gd name="connsiteY12" fmla="*/ 12700 h 393700"/>
                <a:gd name="connsiteX13" fmla="*/ 1676400 w 1714603"/>
                <a:gd name="connsiteY13" fmla="*/ 0 h 393700"/>
                <a:gd name="connsiteX14" fmla="*/ 1714500 w 1714603"/>
                <a:gd name="connsiteY14" fmla="*/ 25400 h 393700"/>
                <a:gd name="connsiteX15" fmla="*/ 939800 w 1714603"/>
                <a:gd name="connsiteY15" fmla="*/ 393700 h 393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4603" h="393700">
                  <a:moveTo>
                    <a:pt x="0" y="254000"/>
                  </a:moveTo>
                  <a:lnTo>
                    <a:pt x="0" y="254000"/>
                  </a:lnTo>
                  <a:lnTo>
                    <a:pt x="787400" y="292100"/>
                  </a:lnTo>
                  <a:cubicBezTo>
                    <a:pt x="821475" y="294047"/>
                    <a:pt x="854870" y="304800"/>
                    <a:pt x="889000" y="304800"/>
                  </a:cubicBezTo>
                  <a:cubicBezTo>
                    <a:pt x="1032996" y="304800"/>
                    <a:pt x="1176867" y="296333"/>
                    <a:pt x="1320800" y="292100"/>
                  </a:cubicBezTo>
                  <a:cubicBezTo>
                    <a:pt x="1329267" y="279400"/>
                    <a:pt x="1335407" y="264793"/>
                    <a:pt x="1346200" y="254000"/>
                  </a:cubicBezTo>
                  <a:cubicBezTo>
                    <a:pt x="1356993" y="243207"/>
                    <a:pt x="1374765" y="240519"/>
                    <a:pt x="1384300" y="228600"/>
                  </a:cubicBezTo>
                  <a:cubicBezTo>
                    <a:pt x="1392663" y="218147"/>
                    <a:pt x="1392767" y="203200"/>
                    <a:pt x="1397000" y="190500"/>
                  </a:cubicBezTo>
                  <a:cubicBezTo>
                    <a:pt x="1387953" y="163360"/>
                    <a:pt x="1369093" y="129507"/>
                    <a:pt x="1397000" y="101600"/>
                  </a:cubicBezTo>
                  <a:cubicBezTo>
                    <a:pt x="1413120" y="85480"/>
                    <a:pt x="1440110" y="86395"/>
                    <a:pt x="1460500" y="76200"/>
                  </a:cubicBezTo>
                  <a:cubicBezTo>
                    <a:pt x="1474152" y="69374"/>
                    <a:pt x="1484948" y="57626"/>
                    <a:pt x="1498600" y="50800"/>
                  </a:cubicBezTo>
                  <a:cubicBezTo>
                    <a:pt x="1510574" y="44813"/>
                    <a:pt x="1524726" y="44087"/>
                    <a:pt x="1536700" y="38100"/>
                  </a:cubicBezTo>
                  <a:cubicBezTo>
                    <a:pt x="1550352" y="31274"/>
                    <a:pt x="1560074" y="16716"/>
                    <a:pt x="1574800" y="12700"/>
                  </a:cubicBezTo>
                  <a:cubicBezTo>
                    <a:pt x="1607728" y="3720"/>
                    <a:pt x="1642533" y="4233"/>
                    <a:pt x="1676400" y="0"/>
                  </a:cubicBezTo>
                  <a:cubicBezTo>
                    <a:pt x="1718516" y="14039"/>
                    <a:pt x="1714500" y="-687"/>
                    <a:pt x="1714500" y="25400"/>
                  </a:cubicBezTo>
                  <a:lnTo>
                    <a:pt x="939800" y="393700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C64BA0BE-291B-46D6-86C1-21A2D3A50C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516" r="12245"/>
          <a:stretch/>
        </p:blipFill>
        <p:spPr>
          <a:xfrm rot="5400000">
            <a:off x="1378036" y="1505000"/>
            <a:ext cx="1770843" cy="233438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EE564BF0-945B-4D6F-9347-D187ABA676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0609" y="1780640"/>
            <a:ext cx="2342376" cy="1776975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2FA0CDBF-9972-4F92-BDF2-545FBAE2FAF4}"/>
              </a:ext>
            </a:extLst>
          </p:cNvPr>
          <p:cNvSpPr/>
          <p:nvPr/>
        </p:nvSpPr>
        <p:spPr>
          <a:xfrm>
            <a:off x="8206581" y="1780640"/>
            <a:ext cx="2695575" cy="17784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Autofit/>
          </a:bodyPr>
          <a:lstStyle/>
          <a:p>
            <a:pPr algn="ctr"/>
            <a:endParaRPr lang="en-US" sz="2000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3FB31A93-61AD-4961-96BE-FDEEFAFEBF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06581" y="1949989"/>
            <a:ext cx="2695575" cy="1438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010502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9-03-22</a:t>
            </a:r>
            <a:endParaRPr lang="sv-SE" noProof="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händelseförlopp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7593C23-FFEF-4061-9E11-73231E61A6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568789A-8DED-461F-810A-AA187F7E02CC}"/>
              </a:ext>
            </a:extLst>
          </p:cNvPr>
          <p:cNvCxnSpPr>
            <a:cxnSpLocks/>
          </p:cNvCxnSpPr>
          <p:nvPr/>
        </p:nvCxnSpPr>
        <p:spPr>
          <a:xfrm>
            <a:off x="1006199" y="2135103"/>
            <a:ext cx="10179602" cy="0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B7EBE4C-E761-4054-A19C-B265095A627F}"/>
              </a:ext>
            </a:extLst>
          </p:cNvPr>
          <p:cNvCxnSpPr/>
          <p:nvPr/>
        </p:nvCxnSpPr>
        <p:spPr>
          <a:xfrm>
            <a:off x="1006199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4401D7D4-BB06-45F3-B2F3-6B0BF0141B67}"/>
              </a:ext>
            </a:extLst>
          </p:cNvPr>
          <p:cNvCxnSpPr/>
          <p:nvPr/>
        </p:nvCxnSpPr>
        <p:spPr>
          <a:xfrm>
            <a:off x="2137266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6055DDC-C158-4ECF-B071-A0B909C3003F}"/>
              </a:ext>
            </a:extLst>
          </p:cNvPr>
          <p:cNvCxnSpPr/>
          <p:nvPr/>
        </p:nvCxnSpPr>
        <p:spPr>
          <a:xfrm>
            <a:off x="4399400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F13E002-75D0-44B5-A09B-43E69DC67274}"/>
              </a:ext>
            </a:extLst>
          </p:cNvPr>
          <p:cNvCxnSpPr/>
          <p:nvPr/>
        </p:nvCxnSpPr>
        <p:spPr>
          <a:xfrm>
            <a:off x="5530467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175C6E5-191F-4B64-98BD-2393463AC899}"/>
              </a:ext>
            </a:extLst>
          </p:cNvPr>
          <p:cNvCxnSpPr/>
          <p:nvPr/>
        </p:nvCxnSpPr>
        <p:spPr>
          <a:xfrm>
            <a:off x="6661534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DB369AE-2455-48A4-AE50-A4E49F396C63}"/>
              </a:ext>
            </a:extLst>
          </p:cNvPr>
          <p:cNvCxnSpPr/>
          <p:nvPr/>
        </p:nvCxnSpPr>
        <p:spPr>
          <a:xfrm>
            <a:off x="7792601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79DF129-826E-4DFE-B56D-3778537C9F94}"/>
              </a:ext>
            </a:extLst>
          </p:cNvPr>
          <p:cNvCxnSpPr/>
          <p:nvPr/>
        </p:nvCxnSpPr>
        <p:spPr>
          <a:xfrm>
            <a:off x="8923668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F9BA086-6D8D-4D84-B4ED-C377466DF1BD}"/>
              </a:ext>
            </a:extLst>
          </p:cNvPr>
          <p:cNvCxnSpPr/>
          <p:nvPr/>
        </p:nvCxnSpPr>
        <p:spPr>
          <a:xfrm>
            <a:off x="10054735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C57A890-6337-4D81-A792-D6DB7F18C909}"/>
              </a:ext>
            </a:extLst>
          </p:cNvPr>
          <p:cNvCxnSpPr/>
          <p:nvPr/>
        </p:nvCxnSpPr>
        <p:spPr>
          <a:xfrm>
            <a:off x="11185801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DABA7005-6ECD-4136-BACC-D57D32ADCE2F}"/>
              </a:ext>
            </a:extLst>
          </p:cNvPr>
          <p:cNvSpPr txBox="1"/>
          <p:nvPr/>
        </p:nvSpPr>
        <p:spPr>
          <a:xfrm>
            <a:off x="318510" y="1426761"/>
            <a:ext cx="137537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v-SE" dirty="0">
                <a:solidFill>
                  <a:schemeClr val="accent5"/>
                </a:solidFill>
                <a:latin typeface="+mj-lt"/>
              </a:rPr>
              <a:t>12 feb 13:04</a:t>
            </a:r>
            <a:endParaRPr lang="en-US" dirty="0" err="1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E15C517-E00B-416A-9119-4073FAF2F316}"/>
              </a:ext>
            </a:extLst>
          </p:cNvPr>
          <p:cNvSpPr txBox="1"/>
          <p:nvPr/>
        </p:nvSpPr>
        <p:spPr>
          <a:xfrm>
            <a:off x="328437" y="2532026"/>
            <a:ext cx="135934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v-SE" dirty="0">
                <a:solidFill>
                  <a:schemeClr val="accent3"/>
                </a:solidFill>
                <a:latin typeface="Pebble" panose="020F0703020203020204" pitchFamily="34" charset="0"/>
              </a:rPr>
              <a:t>Kabel brister </a:t>
            </a:r>
            <a:endParaRPr lang="en-US" dirty="0" err="1">
              <a:solidFill>
                <a:schemeClr val="accent3"/>
              </a:solidFill>
              <a:latin typeface="Pebble" panose="020F0703020203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65EB19F-75BF-4C08-A5C9-B30FFF85F666}"/>
              </a:ext>
            </a:extLst>
          </p:cNvPr>
          <p:cNvSpPr txBox="1"/>
          <p:nvPr/>
        </p:nvSpPr>
        <p:spPr>
          <a:xfrm>
            <a:off x="564358" y="4820919"/>
            <a:ext cx="11087892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b="1" dirty="0"/>
              <a:t>INCIDENT:</a:t>
            </a:r>
            <a:endParaRPr lang="en-US" b="1" dirty="0"/>
          </a:p>
          <a:p>
            <a:r>
              <a:rPr lang="en-US" sz="1600" dirty="0" err="1"/>
              <a:t>Länkarna</a:t>
            </a:r>
            <a:r>
              <a:rPr lang="en-US" sz="1600" dirty="0"/>
              <a:t> till IP </a:t>
            </a:r>
            <a:r>
              <a:rPr lang="en-US" sz="1600" dirty="0" err="1"/>
              <a:t>nätet</a:t>
            </a:r>
            <a:r>
              <a:rPr lang="en-US" sz="1600" dirty="0"/>
              <a:t> (</a:t>
            </a:r>
            <a:r>
              <a:rPr lang="en-US" sz="1600" dirty="0" err="1"/>
              <a:t>bredband</a:t>
            </a:r>
            <a:r>
              <a:rPr lang="en-US" sz="1600" dirty="0"/>
              <a:t>/IPTV/VoIP &amp; </a:t>
            </a:r>
            <a:r>
              <a:rPr lang="en-US" sz="1600" dirty="0" err="1"/>
              <a:t>mobilmaster</a:t>
            </a:r>
            <a:r>
              <a:rPr lang="en-US" sz="1600" dirty="0"/>
              <a:t>) ligger </a:t>
            </a:r>
            <a:r>
              <a:rPr lang="en-US" sz="1600" dirty="0" err="1"/>
              <a:t>nere</a:t>
            </a:r>
            <a:r>
              <a:rPr lang="en-US" sz="1600" dirty="0"/>
              <a:t>. </a:t>
            </a:r>
            <a:r>
              <a:rPr lang="en-US" sz="1600" dirty="0" err="1"/>
              <a:t>En</a:t>
            </a:r>
            <a:r>
              <a:rPr lang="en-US" sz="1600" dirty="0"/>
              <a:t> del har dock </a:t>
            </a:r>
            <a:r>
              <a:rPr lang="en-US" sz="1600" dirty="0" err="1"/>
              <a:t>mobil</a:t>
            </a:r>
            <a:r>
              <a:rPr lang="en-US" sz="1600" dirty="0"/>
              <a:t> </a:t>
            </a:r>
            <a:r>
              <a:rPr lang="en-US" sz="1600" dirty="0" err="1"/>
              <a:t>uppkoppling</a:t>
            </a:r>
            <a:r>
              <a:rPr lang="en-US" sz="1600" dirty="0"/>
              <a:t> via master </a:t>
            </a:r>
            <a:r>
              <a:rPr lang="en-US" sz="1600" dirty="0" err="1"/>
              <a:t>på</a:t>
            </a:r>
            <a:r>
              <a:rPr lang="en-US" sz="1600" dirty="0"/>
              <a:t> </a:t>
            </a:r>
            <a:r>
              <a:rPr lang="en-US" sz="1600" dirty="0" err="1"/>
              <a:t>fastlandet</a:t>
            </a:r>
            <a:r>
              <a:rPr lang="en-US" sz="1600" dirty="0"/>
              <a:t>.</a:t>
            </a:r>
          </a:p>
          <a:p>
            <a:r>
              <a:rPr lang="en-US" sz="1600" dirty="0"/>
              <a:t>All </a:t>
            </a:r>
            <a:r>
              <a:rPr lang="en-US" sz="1600" dirty="0" err="1"/>
              <a:t>traditionell</a:t>
            </a:r>
            <a:r>
              <a:rPr lang="en-US" sz="1600" dirty="0"/>
              <a:t> fast </a:t>
            </a:r>
            <a:r>
              <a:rPr lang="en-US" sz="1600" dirty="0" err="1"/>
              <a:t>telefoni</a:t>
            </a:r>
            <a:r>
              <a:rPr lang="en-US" sz="1600" dirty="0"/>
              <a:t> via </a:t>
            </a:r>
            <a:r>
              <a:rPr lang="en-US" sz="1600" dirty="0" err="1"/>
              <a:t>koppar</a:t>
            </a:r>
            <a:r>
              <a:rPr lang="en-US" sz="1600" dirty="0"/>
              <a:t> </a:t>
            </a:r>
            <a:r>
              <a:rPr lang="en-US" sz="1600" dirty="0" err="1"/>
              <a:t>fungerar</a:t>
            </a:r>
            <a:r>
              <a:rPr lang="en-US" sz="1600" dirty="0"/>
              <a:t> </a:t>
            </a:r>
            <a:r>
              <a:rPr lang="en-US" sz="1600" dirty="0" err="1"/>
              <a:t>förutom</a:t>
            </a:r>
            <a:r>
              <a:rPr lang="en-US" sz="1600" dirty="0"/>
              <a:t> </a:t>
            </a:r>
            <a:r>
              <a:rPr lang="en-US" sz="1600" dirty="0" err="1"/>
              <a:t>Asperö</a:t>
            </a:r>
            <a:r>
              <a:rPr lang="en-US" sz="1600" dirty="0"/>
              <a:t> KC med 25 </a:t>
            </a:r>
            <a:r>
              <a:rPr lang="en-US" sz="1600" dirty="0" err="1"/>
              <a:t>kunder</a:t>
            </a:r>
            <a:r>
              <a:rPr lang="en-US" sz="1600" dirty="0"/>
              <a:t>. </a:t>
            </a:r>
            <a:r>
              <a:rPr lang="en-US" sz="1600" dirty="0" err="1"/>
              <a:t>Dvs</a:t>
            </a:r>
            <a:r>
              <a:rPr lang="en-US" sz="1600" dirty="0"/>
              <a:t> den </a:t>
            </a:r>
            <a:r>
              <a:rPr lang="en-US" sz="1600" dirty="0" err="1"/>
              <a:t>fasta</a:t>
            </a:r>
            <a:r>
              <a:rPr lang="en-US" sz="1600" dirty="0"/>
              <a:t> </a:t>
            </a:r>
            <a:r>
              <a:rPr lang="en-US" sz="1600" dirty="0" err="1"/>
              <a:t>telefonin</a:t>
            </a:r>
            <a:r>
              <a:rPr lang="en-US" sz="1600" dirty="0"/>
              <a:t> </a:t>
            </a:r>
            <a:r>
              <a:rPr lang="en-US" sz="1600" dirty="0" err="1"/>
              <a:t>som</a:t>
            </a:r>
            <a:r>
              <a:rPr lang="en-US" sz="1600" dirty="0"/>
              <a:t> </a:t>
            </a:r>
            <a:r>
              <a:rPr lang="en-US" sz="1600" dirty="0" err="1"/>
              <a:t>går</a:t>
            </a:r>
            <a:r>
              <a:rPr lang="en-US" sz="1600" dirty="0"/>
              <a:t> via </a:t>
            </a:r>
            <a:r>
              <a:rPr lang="en-US" sz="1600" dirty="0" err="1"/>
              <a:t>koppar</a:t>
            </a:r>
            <a:r>
              <a:rPr lang="en-US" sz="1600" dirty="0"/>
              <a:t> </a:t>
            </a:r>
          </a:p>
          <a:p>
            <a:r>
              <a:rPr lang="en-US" sz="1600" dirty="0" err="1"/>
              <a:t>Kunder</a:t>
            </a:r>
            <a:r>
              <a:rPr lang="en-US" sz="1600" dirty="0"/>
              <a:t> </a:t>
            </a:r>
            <a:r>
              <a:rPr lang="en-US" sz="1600" dirty="0" err="1"/>
              <a:t>som</a:t>
            </a:r>
            <a:r>
              <a:rPr lang="en-US" sz="1600" dirty="0"/>
              <a:t> har fast </a:t>
            </a:r>
            <a:r>
              <a:rPr lang="en-US" sz="1600" dirty="0" err="1"/>
              <a:t>telefoni</a:t>
            </a:r>
            <a:r>
              <a:rPr lang="en-US" sz="1600" dirty="0"/>
              <a:t> </a:t>
            </a:r>
            <a:r>
              <a:rPr lang="en-US" sz="1600" dirty="0" err="1"/>
              <a:t>över</a:t>
            </a:r>
            <a:r>
              <a:rPr lang="en-US" sz="1600" dirty="0"/>
              <a:t> IP har </a:t>
            </a:r>
            <a:r>
              <a:rPr lang="en-US" sz="1600" dirty="0" err="1"/>
              <a:t>avbrott</a:t>
            </a:r>
            <a:endParaRPr lang="en-US" sz="1600" dirty="0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00587FE-FF94-4F2B-B31E-529EBC45A611}"/>
              </a:ext>
            </a:extLst>
          </p:cNvPr>
          <p:cNvSpPr txBox="1"/>
          <p:nvPr/>
        </p:nvSpPr>
        <p:spPr>
          <a:xfrm>
            <a:off x="3779038" y="1423820"/>
            <a:ext cx="1240724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v-SE" dirty="0">
                <a:solidFill>
                  <a:schemeClr val="accent5"/>
                </a:solidFill>
                <a:latin typeface="+mj-lt"/>
              </a:rPr>
              <a:t>15 feb 9:00</a:t>
            </a:r>
            <a:endParaRPr lang="en-US" dirty="0" err="1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AF5BF75-2DC8-49E5-95AD-3E22315DBF78}"/>
              </a:ext>
            </a:extLst>
          </p:cNvPr>
          <p:cNvSpPr txBox="1"/>
          <p:nvPr/>
        </p:nvSpPr>
        <p:spPr>
          <a:xfrm>
            <a:off x="3224523" y="2433461"/>
            <a:ext cx="2358062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dirty="0">
                <a:solidFill>
                  <a:schemeClr val="accent3"/>
                </a:solidFill>
                <a:latin typeface="Pebble" panose="020F0703020203020204" pitchFamily="34" charset="0"/>
              </a:rPr>
              <a:t>Radiolänk är uppe</a:t>
            </a:r>
          </a:p>
          <a:p>
            <a:r>
              <a:rPr lang="sv-SE" dirty="0">
                <a:solidFill>
                  <a:schemeClr val="accent3"/>
                </a:solidFill>
                <a:latin typeface="Pebble" panose="020F0703020203020204" pitchFamily="34" charset="0"/>
              </a:rPr>
              <a:t>Hanterar majoritet av trafik till Styrsö, </a:t>
            </a:r>
            <a:r>
              <a:rPr lang="sv-SE" sz="1200" dirty="0">
                <a:solidFill>
                  <a:schemeClr val="accent3"/>
                </a:solidFill>
                <a:latin typeface="Pebble" panose="020F0703020203020204" pitchFamily="34" charset="0"/>
              </a:rPr>
              <a:t>dock inte </a:t>
            </a:r>
            <a:r>
              <a:rPr lang="sv-SE" sz="1200">
                <a:solidFill>
                  <a:schemeClr val="accent3"/>
                </a:solidFill>
                <a:latin typeface="Pebble" panose="020F0703020203020204" pitchFamily="34" charset="0"/>
              </a:rPr>
              <a:t>fast trafik till </a:t>
            </a:r>
            <a:r>
              <a:rPr lang="sv-SE" sz="1200" dirty="0">
                <a:solidFill>
                  <a:schemeClr val="accent3"/>
                </a:solidFill>
                <a:latin typeface="Pebble" panose="020F0703020203020204" pitchFamily="34" charset="0"/>
              </a:rPr>
              <a:t>öarna Asperö, Brännö</a:t>
            </a:r>
            <a:endParaRPr lang="en-US" sz="1200" dirty="0" err="1">
              <a:solidFill>
                <a:schemeClr val="accent3"/>
              </a:solidFill>
              <a:latin typeface="Pebble" panose="020F0703020203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9C682BB6-4E85-4303-9B27-83AE6236A307}"/>
              </a:ext>
            </a:extLst>
          </p:cNvPr>
          <p:cNvSpPr txBox="1"/>
          <p:nvPr/>
        </p:nvSpPr>
        <p:spPr>
          <a:xfrm>
            <a:off x="1359942" y="4034803"/>
            <a:ext cx="221465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1600" dirty="0">
                <a:latin typeface="Pebble" panose="020F0703020203020204" pitchFamily="34" charset="0"/>
              </a:rPr>
              <a:t>Sjökabelfartyg avseglar, Kalmar, lastad och klar</a:t>
            </a:r>
            <a:endParaRPr lang="en-US" sz="1600" dirty="0" err="1">
              <a:latin typeface="Pebble" panose="020F0703020203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9AE55E-1C7D-4360-9148-76D78F89A1C8}"/>
              </a:ext>
            </a:extLst>
          </p:cNvPr>
          <p:cNvSpPr txBox="1"/>
          <p:nvPr/>
        </p:nvSpPr>
        <p:spPr>
          <a:xfrm flipH="1">
            <a:off x="8260816" y="3324689"/>
            <a:ext cx="132570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1600" dirty="0">
                <a:latin typeface="Pebble" panose="020F0703020203020204" pitchFamily="34" charset="0"/>
              </a:rPr>
              <a:t>Kabeln lagd landfäste till landfäste</a:t>
            </a:r>
            <a:endParaRPr lang="en-US" sz="1600" dirty="0" err="1">
              <a:latin typeface="Pebble" panose="020F0703020203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92CDD2F-8878-4DA2-AE63-4ED9844D5A33}"/>
              </a:ext>
            </a:extLst>
          </p:cNvPr>
          <p:cNvSpPr txBox="1"/>
          <p:nvPr/>
        </p:nvSpPr>
        <p:spPr>
          <a:xfrm>
            <a:off x="10697539" y="2506164"/>
            <a:ext cx="149446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dirty="0">
                <a:solidFill>
                  <a:schemeClr val="accent3"/>
                </a:solidFill>
                <a:latin typeface="Pebble" panose="020F0703020203020204" pitchFamily="34" charset="0"/>
              </a:rPr>
              <a:t>Samtlig trafik uppe</a:t>
            </a:r>
            <a:endParaRPr lang="en-US" dirty="0" err="1">
              <a:solidFill>
                <a:schemeClr val="accent3"/>
              </a:solidFill>
              <a:latin typeface="Pebble" panose="020F0703020203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F47C33E-806F-475D-A214-AD4E91267240}"/>
              </a:ext>
            </a:extLst>
          </p:cNvPr>
          <p:cNvSpPr txBox="1"/>
          <p:nvPr/>
        </p:nvSpPr>
        <p:spPr>
          <a:xfrm>
            <a:off x="9322162" y="1238694"/>
            <a:ext cx="137537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v-SE" dirty="0">
                <a:solidFill>
                  <a:schemeClr val="accent5"/>
                </a:solidFill>
                <a:latin typeface="+mj-lt"/>
              </a:rPr>
              <a:t>20 feb 15:30</a:t>
            </a:r>
            <a:endParaRPr lang="en-US" dirty="0" err="1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6FC2921-8218-4CAC-B689-114A88848C63}"/>
              </a:ext>
            </a:extLst>
          </p:cNvPr>
          <p:cNvSpPr txBox="1"/>
          <p:nvPr/>
        </p:nvSpPr>
        <p:spPr>
          <a:xfrm>
            <a:off x="4398452" y="3895911"/>
            <a:ext cx="221465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1600" dirty="0">
                <a:latin typeface="Pebble" panose="020F0703020203020204" pitchFamily="34" charset="0"/>
              </a:rPr>
              <a:t>Sjökabelfartyg på plats och påbörjar arbete</a:t>
            </a:r>
            <a:endParaRPr lang="en-US" sz="1600" dirty="0" err="1">
              <a:latin typeface="Pebble" panose="020F070302020302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C2A81C4-728A-4C6D-9FB0-A9FA024EC6B1}"/>
              </a:ext>
            </a:extLst>
          </p:cNvPr>
          <p:cNvCxnSpPr>
            <a:cxnSpLocks/>
          </p:cNvCxnSpPr>
          <p:nvPr/>
        </p:nvCxnSpPr>
        <p:spPr>
          <a:xfrm>
            <a:off x="3268333" y="1937913"/>
            <a:ext cx="0" cy="384313"/>
          </a:xfrm>
          <a:prstGeom prst="line">
            <a:avLst/>
          </a:prstGeom>
          <a:ln w="31750"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4D6AEE0E-F0ED-41A9-A594-2D553BD17294}"/>
              </a:ext>
            </a:extLst>
          </p:cNvPr>
          <p:cNvSpPr txBox="1"/>
          <p:nvPr/>
        </p:nvSpPr>
        <p:spPr>
          <a:xfrm>
            <a:off x="10498112" y="1533200"/>
            <a:ext cx="1375377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sv-SE" dirty="0">
                <a:solidFill>
                  <a:schemeClr val="accent5"/>
                </a:solidFill>
                <a:latin typeface="+mj-lt"/>
              </a:rPr>
              <a:t>21 feb 01:19</a:t>
            </a:r>
            <a:endParaRPr lang="en-US" dirty="0" err="1">
              <a:solidFill>
                <a:schemeClr val="accent5"/>
              </a:solidFill>
              <a:latin typeface="+mj-l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0E58823-A487-44D2-BBAF-A57A905254D5}"/>
              </a:ext>
            </a:extLst>
          </p:cNvPr>
          <p:cNvSpPr txBox="1"/>
          <p:nvPr/>
        </p:nvSpPr>
        <p:spPr>
          <a:xfrm>
            <a:off x="9342425" y="2506164"/>
            <a:ext cx="142461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dirty="0">
                <a:solidFill>
                  <a:schemeClr val="accent3"/>
                </a:solidFill>
                <a:latin typeface="Pebble" panose="020F0703020203020204" pitchFamily="34" charset="0"/>
              </a:rPr>
              <a:t>Majoriteten trafik uppe</a:t>
            </a:r>
            <a:endParaRPr lang="en-US" dirty="0" err="1">
              <a:solidFill>
                <a:schemeClr val="accent3"/>
              </a:solidFill>
              <a:latin typeface="Pebble" panose="020F0703020203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608F690-77BD-4002-AD35-4A97F161192C}"/>
              </a:ext>
            </a:extLst>
          </p:cNvPr>
          <p:cNvSpPr txBox="1"/>
          <p:nvPr/>
        </p:nvSpPr>
        <p:spPr>
          <a:xfrm>
            <a:off x="817020" y="3320369"/>
            <a:ext cx="2757578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1600" dirty="0">
                <a:latin typeface="Pebble" panose="020F0703020203020204" pitchFamily="34" charset="0"/>
              </a:rPr>
              <a:t>Mastvagnar, tillstånd från PTS, konfigurera länken</a:t>
            </a:r>
            <a:endParaRPr lang="en-US" sz="1600" dirty="0" err="1">
              <a:latin typeface="Pebble" panose="020F07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64202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123ED0-A29B-47A4-B0C4-805432B6FC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Radiolänk </a:t>
            </a:r>
            <a:r>
              <a:rPr lang="sv-SE" dirty="0" err="1"/>
              <a:t>styrsö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D8B3D1D-CE2B-469A-BCD0-0BB2065F01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44AE7FF-5840-47AE-A3C2-B063566FC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pic>
        <p:nvPicPr>
          <p:cNvPr id="5" name="Picture 3" descr="image005">
            <a:extLst>
              <a:ext uri="{FF2B5EF4-FFF2-40B4-BE49-F238E27FC236}">
                <a16:creationId xmlns:a16="http://schemas.microsoft.com/office/drawing/2014/main" id="{4EE877C2-77A9-4460-9AD1-C00A984137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7072" y="1599221"/>
            <a:ext cx="4032250" cy="4038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6DFFEFE-B0F0-4720-B794-F5B09FFD82E8}"/>
              </a:ext>
            </a:extLst>
          </p:cNvPr>
          <p:cNvSpPr/>
          <p:nvPr/>
        </p:nvSpPr>
        <p:spPr>
          <a:xfrm>
            <a:off x="5904411" y="2151984"/>
            <a:ext cx="4450012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sv-SE" b="1" dirty="0">
                <a:latin typeface="+mj-lt"/>
                <a:ea typeface="Calibri" panose="020F0502020204030204" pitchFamily="34" charset="0"/>
              </a:rPr>
              <a:t>Styrsö</a:t>
            </a:r>
          </a:p>
          <a:p>
            <a:pPr>
              <a:spcAft>
                <a:spcPts val="0"/>
              </a:spcAft>
            </a:pPr>
            <a:endParaRPr lang="sv-SE" b="1" dirty="0">
              <a:latin typeface="+mj-lt"/>
              <a:ea typeface="Calibri" panose="020F0502020204030204" pitchFamily="34" charset="0"/>
            </a:endParaRPr>
          </a:p>
          <a:p>
            <a:r>
              <a:rPr lang="sv-SE" dirty="0">
                <a:latin typeface="Pebble" panose="020F0703020203020204" pitchFamily="34" charset="0"/>
              </a:rPr>
              <a:t>Torn 17m högt.  </a:t>
            </a:r>
          </a:p>
          <a:p>
            <a:r>
              <a:rPr lang="sv-SE" dirty="0">
                <a:latin typeface="Pebble" panose="020F0703020203020204" pitchFamily="34" charset="0"/>
              </a:rPr>
              <a:t>Vi monterade på ca. 13m.</a:t>
            </a:r>
          </a:p>
          <a:p>
            <a:endParaRPr lang="sv-SE" dirty="0">
              <a:latin typeface="Pebble" panose="020F0703020203020204" pitchFamily="34" charset="0"/>
            </a:endParaRPr>
          </a:p>
          <a:p>
            <a:r>
              <a:rPr lang="sv-SE" dirty="0">
                <a:latin typeface="Pebble" panose="020F0703020203020204" pitchFamily="34" charset="0"/>
              </a:rPr>
              <a:t>Blev båttransport ut till Styrsö, så allt material fick bäras ifrån båtbryggan upp till tornet. Ca. 600m uppför.</a:t>
            </a:r>
          </a:p>
          <a:p>
            <a:r>
              <a:rPr lang="sv-SE" dirty="0"/>
              <a:t> </a:t>
            </a:r>
          </a:p>
          <a:p>
            <a:pPr>
              <a:spcAft>
                <a:spcPts val="0"/>
              </a:spcAft>
            </a:pPr>
            <a:endParaRPr lang="sv-SE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264306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ED4033-E081-4B62-9714-59BEB4E34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jökabelfartyget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BD33C9-7B2E-49CA-A4BE-2C85893B4D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19843D-255C-418A-8DF3-501C16FAC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133720-A490-4D01-957B-3A4F4931ED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750" y="1487293"/>
            <a:ext cx="8387376" cy="47178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DB495B9-2F87-4A32-8B7B-100FBD577D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1477" y="282193"/>
            <a:ext cx="4410773" cy="3308080"/>
          </a:xfrm>
          <a:prstGeom prst="rect">
            <a:avLst/>
          </a:prstGeom>
        </p:spPr>
      </p:pic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311D52B3-2502-4305-90A3-A3F7ED739968}"/>
              </a:ext>
            </a:extLst>
          </p:cNvPr>
          <p:cNvSpPr/>
          <p:nvPr/>
        </p:nvSpPr>
        <p:spPr>
          <a:xfrm>
            <a:off x="5224585" y="1022278"/>
            <a:ext cx="1742830" cy="930030"/>
          </a:xfrm>
          <a:prstGeom prst="wedgeRoundRectCallout">
            <a:avLst>
              <a:gd name="adj1" fmla="val -27831"/>
              <a:gd name="adj2" fmla="val 214108"/>
              <a:gd name="adj3" fmla="val 16667"/>
            </a:avLst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80000" rIns="180000" bIns="180000" rtlCol="0" anchor="ctr">
            <a:normAutofit fontScale="77500" lnSpcReduction="20000"/>
          </a:bodyPr>
          <a:lstStyle/>
          <a:p>
            <a:pPr algn="ctr"/>
            <a:r>
              <a:rPr lang="sv-SE" sz="2000" dirty="0">
                <a:solidFill>
                  <a:schemeClr val="tx1"/>
                </a:solidFill>
              </a:rPr>
              <a:t>Kabeln löper i dessa rännor</a:t>
            </a:r>
          </a:p>
        </p:txBody>
      </p:sp>
    </p:spTree>
    <p:extLst>
      <p:ext uri="{BB962C8B-B14F-4D97-AF65-F5344CB8AC3E}">
        <p14:creationId xmlns:p14="http://schemas.microsoft.com/office/powerpoint/2010/main" val="323815520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Chris Moody\Downloads\TELIA_PPTTemplate_Full_V5-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MLIB" val="True"/>
</p:tagLst>
</file>

<file path=ppt/theme/theme1.xml><?xml version="1.0" encoding="utf-8"?>
<a:theme xmlns:a="http://schemas.openxmlformats.org/drawingml/2006/main" name="Telia Standard Template">
  <a:themeElements>
    <a:clrScheme name="Telia Company">
      <a:dk1>
        <a:sysClr val="windowText" lastClr="000000"/>
      </a:dk1>
      <a:lt1>
        <a:sysClr val="window" lastClr="FFFFFF"/>
      </a:lt1>
      <a:dk2>
        <a:srgbClr val="990AE3"/>
      </a:dk2>
      <a:lt2>
        <a:srgbClr val="EEEEEE"/>
      </a:lt2>
      <a:accent1>
        <a:srgbClr val="990AE3"/>
      </a:accent1>
      <a:accent2>
        <a:srgbClr val="CC00FF"/>
      </a:accent2>
      <a:accent3>
        <a:srgbClr val="FF00CD"/>
      </a:accent3>
      <a:accent4>
        <a:srgbClr val="00CDFF"/>
      </a:accent4>
      <a:accent5>
        <a:srgbClr val="0099FF"/>
      </a:accent5>
      <a:accent6>
        <a:srgbClr val="FF9B00"/>
      </a:accent6>
      <a:hlink>
        <a:srgbClr val="000000"/>
      </a:hlink>
      <a:folHlink>
        <a:srgbClr val="000000"/>
      </a:folHlink>
    </a:clrScheme>
    <a:fontScheme name="Telia Company">
      <a:majorFont>
        <a:latin typeface="Pebble CAPS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square" lIns="180000" tIns="180000" rIns="180000" bIns="180000" rtlCol="0" anchor="ctr">
        <a:no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00_Telia Company.potx" id="{DDD5BCB8-8CE7-4CFC-8BC3-38EF693EF351}" vid="{07D9E917-4CA4-40C3-AB74-A084BC87C67E}"/>
    </a:ext>
  </a:extLst>
</a:theme>
</file>

<file path=ppt/theme/theme2.xml><?xml version="1.0" encoding="utf-8"?>
<a:theme xmlns:a="http://schemas.openxmlformats.org/drawingml/2006/main" name="5_Telia Standard Template">
  <a:themeElements>
    <a:clrScheme name="Telia 3.2">
      <a:dk1>
        <a:sysClr val="windowText" lastClr="000000"/>
      </a:dk1>
      <a:lt1>
        <a:sysClr val="window" lastClr="FFFFFF"/>
      </a:lt1>
      <a:dk2>
        <a:srgbClr val="990AE3"/>
      </a:dk2>
      <a:lt2>
        <a:srgbClr val="EEEEEE"/>
      </a:lt2>
      <a:accent1>
        <a:srgbClr val="990AE3"/>
      </a:accent1>
      <a:accent2>
        <a:srgbClr val="CC00FF"/>
      </a:accent2>
      <a:accent3>
        <a:srgbClr val="FF00CD"/>
      </a:accent3>
      <a:accent4>
        <a:srgbClr val="00CDFF"/>
      </a:accent4>
      <a:accent5>
        <a:srgbClr val="0099FF"/>
      </a:accent5>
      <a:accent6>
        <a:srgbClr val="FF9B00"/>
      </a:accent6>
      <a:hlink>
        <a:srgbClr val="000000"/>
      </a:hlink>
      <a:folHlink>
        <a:srgbClr val="000000"/>
      </a:folHlink>
    </a:clrScheme>
    <a:fontScheme name="Telia Group">
      <a:majorFont>
        <a:latin typeface="Pebble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wrap="square" lIns="180000" tIns="180000" rIns="180000" bIns="180000" rtlCol="0" anchor="ctr">
        <a:noAutofit/>
      </a:bodyPr>
      <a:lstStyle>
        <a:defPPr algn="ctr">
          <a:defRPr sz="20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solidFill>
            <a:schemeClr val="accent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liaCompany.potx" id="{E1791408-B605-4747-904B-31E734A4506B}" vid="{69AEC5CD-6958-43AB-AD61-70F658D6F686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0_Telia Company</Template>
  <TotalTime>0</TotalTime>
  <Words>439</Words>
  <Application>Microsoft Office PowerPoint</Application>
  <PresentationFormat>Widescreen</PresentationFormat>
  <Paragraphs>120</Paragraphs>
  <Slides>1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rial</vt:lpstr>
      <vt:lpstr>Calibri</vt:lpstr>
      <vt:lpstr>Pebble</vt:lpstr>
      <vt:lpstr>Pebble CAPS</vt:lpstr>
      <vt:lpstr>Telia Standard Template</vt:lpstr>
      <vt:lpstr>5_Telia Standard Template</vt:lpstr>
      <vt:lpstr>think-cell Slide</vt:lpstr>
      <vt:lpstr>PowerPoint Presentation</vt:lpstr>
      <vt:lpstr>PowerPoint Presentation</vt:lpstr>
      <vt:lpstr>SÄKER &amp; PÅLITLIG DIGITAL INFRASTRUKTUR BLODOMLOPPET OCH NERVSYSTEMET I ETT SMART &amp; HÅLLBART SAMHÄLLE</vt:lpstr>
      <vt:lpstr>NÄTETS FYSISKA MOTSTÅNDSKRAFT</vt:lpstr>
      <vt:lpstr>NATIONELL DIVERSITET OCH LOKALT ÖVERLAPP</vt:lpstr>
      <vt:lpstr>Standardhantering vid kris/InCIDENT</vt:lpstr>
      <vt:lpstr>händelseförlopp</vt:lpstr>
      <vt:lpstr>Radiolänk styrsö</vt:lpstr>
      <vt:lpstr>sjökabelfartyget</vt:lpstr>
      <vt:lpstr>Ny fiberkabel läggs</vt:lpstr>
      <vt:lpstr>Korsningen av VA-anläggning</vt:lpstr>
      <vt:lpstr>PowerPoint Presentation</vt:lpstr>
      <vt:lpstr>Infrastruktur telia styrsö</vt:lpstr>
      <vt:lpstr>redundans via Radiolänk</vt:lpstr>
      <vt:lpstr>Fiberkabel mellan öarna (schematisk bild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9-03-22T07:52:27Z</dcterms:created>
  <dcterms:modified xsi:type="dcterms:W3CDTF">2019-03-29T08:17:47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174916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6.2.12</vt:lpwstr>
  </property>
</Properties>
</file>